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711" r:id="rId4"/>
    <p:sldMasterId id="2147483692" r:id="rId5"/>
    <p:sldMasterId id="2147483648" r:id="rId6"/>
  </p:sldMasterIdLst>
  <p:notesMasterIdLst>
    <p:notesMasterId r:id="rId14"/>
  </p:notesMasterIdLst>
  <p:handoutMasterIdLst>
    <p:handoutMasterId r:id="rId15"/>
  </p:handoutMasterIdLst>
  <p:sldIdLst>
    <p:sldId id="290" r:id="rId7"/>
    <p:sldId id="2147374856" r:id="rId8"/>
    <p:sldId id="2147374857" r:id="rId9"/>
    <p:sldId id="2147374858" r:id="rId10"/>
    <p:sldId id="2147374859" r:id="rId11"/>
    <p:sldId id="2147374861" r:id="rId12"/>
    <p:sldId id="2147374862" r:id="rId13"/>
  </p:sldIdLst>
  <p:sldSz cx="20104100" cy="11309350"/>
  <p:notesSz cx="20104100" cy="1130935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ugénie Bacher" initials="EB" lastIdx="1" clrIdx="0">
    <p:extLst>
      <p:ext uri="{19B8F6BF-5375-455C-9EA6-DF929625EA0E}">
        <p15:presenceInfo xmlns:p15="http://schemas.microsoft.com/office/powerpoint/2012/main" userId="S::eugenie.bacher@bettercotton.org::1c8880ff-e483-47d6-9962-043a2a18228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F9BC9"/>
    <a:srgbClr val="7E6997"/>
    <a:srgbClr val="FFFFFF"/>
    <a:srgbClr val="2E9C75"/>
    <a:srgbClr val="DEEAF2"/>
    <a:srgbClr val="D2E3EE"/>
    <a:srgbClr val="219683"/>
    <a:srgbClr val="F3F2F1"/>
    <a:srgbClr val="399C94"/>
    <a:srgbClr val="44A98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8C9C868-AE14-4B3C-A5DF-FDD49B960046}" v="79" dt="2023-06-19T20:24:15.542"/>
    <p1510:client id="{A236E636-B115-44A7-8389-A460ECA142FB}" v="354" dt="2023-06-20T16:00:24.610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4" d="100"/>
          <a:sy n="64" d="100"/>
        </p:scale>
        <p:origin x="774" y="84"/>
      </p:cViewPr>
      <p:guideLst>
        <p:guide orient="horz" pos="2880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ara Cruz" userId="b0f71b28-16e3-44a7-b9d4-cbd6d38f3b0b" providerId="ADAL" clId="{C29845DB-5328-4AFF-A359-B1681B2A9272}"/>
    <pc:docChg chg="custSel addSld delSld modSld">
      <pc:chgData name="Lara Cruz" userId="b0f71b28-16e3-44a7-b9d4-cbd6d38f3b0b" providerId="ADAL" clId="{C29845DB-5328-4AFF-A359-B1681B2A9272}" dt="2023-06-19T12:33:40.313" v="256" actId="1076"/>
      <pc:docMkLst>
        <pc:docMk/>
      </pc:docMkLst>
      <pc:sldChg chg="modSp mod">
        <pc:chgData name="Lara Cruz" userId="b0f71b28-16e3-44a7-b9d4-cbd6d38f3b0b" providerId="ADAL" clId="{C29845DB-5328-4AFF-A359-B1681B2A9272}" dt="2023-06-16T13:22:57.892" v="8" actId="20577"/>
        <pc:sldMkLst>
          <pc:docMk/>
          <pc:sldMk cId="859432995" sldId="283"/>
        </pc:sldMkLst>
        <pc:spChg chg="mod">
          <ac:chgData name="Lara Cruz" userId="b0f71b28-16e3-44a7-b9d4-cbd6d38f3b0b" providerId="ADAL" clId="{C29845DB-5328-4AFF-A359-B1681B2A9272}" dt="2023-06-16T13:22:57.892" v="8" actId="20577"/>
          <ac:spMkLst>
            <pc:docMk/>
            <pc:sldMk cId="859432995" sldId="283"/>
            <ac:spMk id="20" creationId="{45792D2E-6BEE-4838-AE92-3B32AE5DBD33}"/>
          </ac:spMkLst>
        </pc:spChg>
      </pc:sldChg>
      <pc:sldChg chg="addSp modSp mod">
        <pc:chgData name="Lara Cruz" userId="b0f71b28-16e3-44a7-b9d4-cbd6d38f3b0b" providerId="ADAL" clId="{C29845DB-5328-4AFF-A359-B1681B2A9272}" dt="2023-06-16T13:22:40.666" v="4" actId="1076"/>
        <pc:sldMkLst>
          <pc:docMk/>
          <pc:sldMk cId="120730173" sldId="286"/>
        </pc:sldMkLst>
        <pc:spChg chg="add mod">
          <ac:chgData name="Lara Cruz" userId="b0f71b28-16e3-44a7-b9d4-cbd6d38f3b0b" providerId="ADAL" clId="{C29845DB-5328-4AFF-A359-B1681B2A9272}" dt="2023-06-16T13:22:40.666" v="4" actId="1076"/>
          <ac:spMkLst>
            <pc:docMk/>
            <pc:sldMk cId="120730173" sldId="286"/>
            <ac:spMk id="16" creationId="{DB982707-EE72-5AB2-F576-B8A26E6C71B0}"/>
          </ac:spMkLst>
        </pc:spChg>
        <pc:spChg chg="mod">
          <ac:chgData name="Lara Cruz" userId="b0f71b28-16e3-44a7-b9d4-cbd6d38f3b0b" providerId="ADAL" clId="{C29845DB-5328-4AFF-A359-B1681B2A9272}" dt="2023-06-16T13:22:34.667" v="2" actId="20577"/>
          <ac:spMkLst>
            <pc:docMk/>
            <pc:sldMk cId="120730173" sldId="286"/>
            <ac:spMk id="30" creationId="{49684836-729A-C5FF-B659-FFAE8C574073}"/>
          </ac:spMkLst>
        </pc:spChg>
      </pc:sldChg>
      <pc:sldChg chg="modSp mod">
        <pc:chgData name="Lara Cruz" userId="b0f71b28-16e3-44a7-b9d4-cbd6d38f3b0b" providerId="ADAL" clId="{C29845DB-5328-4AFF-A359-B1681B2A9272}" dt="2023-06-16T13:23:03.835" v="11" actId="20577"/>
        <pc:sldMkLst>
          <pc:docMk/>
          <pc:sldMk cId="824739939" sldId="288"/>
        </pc:sldMkLst>
        <pc:spChg chg="mod">
          <ac:chgData name="Lara Cruz" userId="b0f71b28-16e3-44a7-b9d4-cbd6d38f3b0b" providerId="ADAL" clId="{C29845DB-5328-4AFF-A359-B1681B2A9272}" dt="2023-06-16T13:23:03.835" v="11" actId="20577"/>
          <ac:spMkLst>
            <pc:docMk/>
            <pc:sldMk cId="824739939" sldId="288"/>
            <ac:spMk id="25" creationId="{DB19D8FE-B649-8745-B5DA-03209BD04D6F}"/>
          </ac:spMkLst>
        </pc:spChg>
      </pc:sldChg>
      <pc:sldChg chg="addSp delSp modSp mod">
        <pc:chgData name="Lara Cruz" userId="b0f71b28-16e3-44a7-b9d4-cbd6d38f3b0b" providerId="ADAL" clId="{C29845DB-5328-4AFF-A359-B1681B2A9272}" dt="2023-06-16T16:14:18.230" v="203" actId="1076"/>
        <pc:sldMkLst>
          <pc:docMk/>
          <pc:sldMk cId="2385738458" sldId="289"/>
        </pc:sldMkLst>
        <pc:cxnChg chg="add mod">
          <ac:chgData name="Lara Cruz" userId="b0f71b28-16e3-44a7-b9d4-cbd6d38f3b0b" providerId="ADAL" clId="{C29845DB-5328-4AFF-A359-B1681B2A9272}" dt="2023-06-16T16:14:18.230" v="203" actId="1076"/>
          <ac:cxnSpMkLst>
            <pc:docMk/>
            <pc:sldMk cId="2385738458" sldId="289"/>
            <ac:cxnSpMk id="3" creationId="{8C3FF146-232B-1678-8E08-B582BB11D310}"/>
          </ac:cxnSpMkLst>
        </pc:cxnChg>
        <pc:cxnChg chg="del">
          <ac:chgData name="Lara Cruz" userId="b0f71b28-16e3-44a7-b9d4-cbd6d38f3b0b" providerId="ADAL" clId="{C29845DB-5328-4AFF-A359-B1681B2A9272}" dt="2023-06-16T16:14:13.175" v="201" actId="478"/>
          <ac:cxnSpMkLst>
            <pc:docMk/>
            <pc:sldMk cId="2385738458" sldId="289"/>
            <ac:cxnSpMk id="23" creationId="{EB2D47C8-B163-4B3B-BC37-222578A82313}"/>
          </ac:cxnSpMkLst>
        </pc:cxnChg>
      </pc:sldChg>
      <pc:sldChg chg="modSp mod">
        <pc:chgData name="Lara Cruz" userId="b0f71b28-16e3-44a7-b9d4-cbd6d38f3b0b" providerId="ADAL" clId="{C29845DB-5328-4AFF-A359-B1681B2A9272}" dt="2023-06-16T16:11:25.717" v="160" actId="122"/>
        <pc:sldMkLst>
          <pc:docMk/>
          <pc:sldMk cId="257024696" sldId="299"/>
        </pc:sldMkLst>
        <pc:spChg chg="mod">
          <ac:chgData name="Lara Cruz" userId="b0f71b28-16e3-44a7-b9d4-cbd6d38f3b0b" providerId="ADAL" clId="{C29845DB-5328-4AFF-A359-B1681B2A9272}" dt="2023-06-16T16:11:25.717" v="160" actId="122"/>
          <ac:spMkLst>
            <pc:docMk/>
            <pc:sldMk cId="257024696" sldId="299"/>
            <ac:spMk id="3" creationId="{74D38EA8-9FE9-9047-3397-C82BB1BC2151}"/>
          </ac:spMkLst>
        </pc:spChg>
      </pc:sldChg>
      <pc:sldChg chg="modSp mod">
        <pc:chgData name="Lara Cruz" userId="b0f71b28-16e3-44a7-b9d4-cbd6d38f3b0b" providerId="ADAL" clId="{C29845DB-5328-4AFF-A359-B1681B2A9272}" dt="2023-06-19T12:33:40.313" v="256" actId="1076"/>
        <pc:sldMkLst>
          <pc:docMk/>
          <pc:sldMk cId="4009788007" sldId="301"/>
        </pc:sldMkLst>
        <pc:spChg chg="mod">
          <ac:chgData name="Lara Cruz" userId="b0f71b28-16e3-44a7-b9d4-cbd6d38f3b0b" providerId="ADAL" clId="{C29845DB-5328-4AFF-A359-B1681B2A9272}" dt="2023-06-19T12:33:40.313" v="256" actId="1076"/>
          <ac:spMkLst>
            <pc:docMk/>
            <pc:sldMk cId="4009788007" sldId="301"/>
            <ac:spMk id="3" creationId="{83974190-FD30-7FB7-9CD0-5BEC4D3EDC3E}"/>
          </ac:spMkLst>
        </pc:spChg>
      </pc:sldChg>
      <pc:sldChg chg="add setBg">
        <pc:chgData name="Lara Cruz" userId="b0f71b28-16e3-44a7-b9d4-cbd6d38f3b0b" providerId="ADAL" clId="{C29845DB-5328-4AFF-A359-B1681B2A9272}" dt="2023-06-19T12:10:25.620" v="208"/>
        <pc:sldMkLst>
          <pc:docMk/>
          <pc:sldMk cId="3691442879" sldId="6816"/>
        </pc:sldMkLst>
      </pc:sldChg>
      <pc:sldChg chg="mod modShow">
        <pc:chgData name="Lara Cruz" userId="b0f71b28-16e3-44a7-b9d4-cbd6d38f3b0b" providerId="ADAL" clId="{C29845DB-5328-4AFF-A359-B1681B2A9272}" dt="2023-06-19T12:08:03.853" v="204" actId="729"/>
        <pc:sldMkLst>
          <pc:docMk/>
          <pc:sldMk cId="506989637" sldId="2147374855"/>
        </pc:sldMkLst>
      </pc:sldChg>
      <pc:sldChg chg="addSp delSp modSp mod setBg delAnim">
        <pc:chgData name="Lara Cruz" userId="b0f71b28-16e3-44a7-b9d4-cbd6d38f3b0b" providerId="ADAL" clId="{C29845DB-5328-4AFF-A359-B1681B2A9272}" dt="2023-06-16T16:01:54.437" v="107" actId="403"/>
        <pc:sldMkLst>
          <pc:docMk/>
          <pc:sldMk cId="3951829472" sldId="2147374860"/>
        </pc:sldMkLst>
        <pc:spChg chg="add mod">
          <ac:chgData name="Lara Cruz" userId="b0f71b28-16e3-44a7-b9d4-cbd6d38f3b0b" providerId="ADAL" clId="{C29845DB-5328-4AFF-A359-B1681B2A9272}" dt="2023-06-16T16:01:54.437" v="107" actId="403"/>
          <ac:spMkLst>
            <pc:docMk/>
            <pc:sldMk cId="3951829472" sldId="2147374860"/>
            <ac:spMk id="3" creationId="{95B46A34-DFE0-1C83-E841-D2107F00EF25}"/>
          </ac:spMkLst>
        </pc:spChg>
        <pc:spChg chg="del">
          <ac:chgData name="Lara Cruz" userId="b0f71b28-16e3-44a7-b9d4-cbd6d38f3b0b" providerId="ADAL" clId="{C29845DB-5328-4AFF-A359-B1681B2A9272}" dt="2023-06-16T15:53:38.999" v="44" actId="478"/>
          <ac:spMkLst>
            <pc:docMk/>
            <pc:sldMk cId="3951829472" sldId="2147374860"/>
            <ac:spMk id="4" creationId="{04240ED5-B343-23A9-9302-D6A01B44F500}"/>
          </ac:spMkLst>
        </pc:spChg>
        <pc:picChg chg="del">
          <ac:chgData name="Lara Cruz" userId="b0f71b28-16e3-44a7-b9d4-cbd6d38f3b0b" providerId="ADAL" clId="{C29845DB-5328-4AFF-A359-B1681B2A9272}" dt="2023-06-16T15:53:20.733" v="42" actId="478"/>
          <ac:picMkLst>
            <pc:docMk/>
            <pc:sldMk cId="3951829472" sldId="2147374860"/>
            <ac:picMk id="2" creationId="{01D45A11-6935-9FDC-A2DE-A9D29A2A015E}"/>
          </ac:picMkLst>
        </pc:picChg>
      </pc:sldChg>
      <pc:sldChg chg="modSp add mod">
        <pc:chgData name="Lara Cruz" userId="b0f71b28-16e3-44a7-b9d4-cbd6d38f3b0b" providerId="ADAL" clId="{C29845DB-5328-4AFF-A359-B1681B2A9272}" dt="2023-06-16T13:24:07.927" v="41" actId="20577"/>
        <pc:sldMkLst>
          <pc:docMk/>
          <pc:sldMk cId="4248978637" sldId="2147374863"/>
        </pc:sldMkLst>
        <pc:spChg chg="mod">
          <ac:chgData name="Lara Cruz" userId="b0f71b28-16e3-44a7-b9d4-cbd6d38f3b0b" providerId="ADAL" clId="{C29845DB-5328-4AFF-A359-B1681B2A9272}" dt="2023-06-16T13:24:07.927" v="41" actId="20577"/>
          <ac:spMkLst>
            <pc:docMk/>
            <pc:sldMk cId="4248978637" sldId="2147374863"/>
            <ac:spMk id="25" creationId="{DD37C7B6-AE61-47FE-9F3C-2EB017FB748E}"/>
          </ac:spMkLst>
        </pc:spChg>
      </pc:sldChg>
      <pc:sldChg chg="modSp add mod setBg">
        <pc:chgData name="Lara Cruz" userId="b0f71b28-16e3-44a7-b9d4-cbd6d38f3b0b" providerId="ADAL" clId="{C29845DB-5328-4AFF-A359-B1681B2A9272}" dt="2023-06-16T16:13:46.485" v="200" actId="12788"/>
        <pc:sldMkLst>
          <pc:docMk/>
          <pc:sldMk cId="2485712075" sldId="2147374864"/>
        </pc:sldMkLst>
        <pc:spChg chg="mod">
          <ac:chgData name="Lara Cruz" userId="b0f71b28-16e3-44a7-b9d4-cbd6d38f3b0b" providerId="ADAL" clId="{C29845DB-5328-4AFF-A359-B1681B2A9272}" dt="2023-06-16T16:13:46.485" v="200" actId="12788"/>
          <ac:spMkLst>
            <pc:docMk/>
            <pc:sldMk cId="2485712075" sldId="2147374864"/>
            <ac:spMk id="3" creationId="{74D38EA8-9FE9-9047-3397-C82BB1BC2151}"/>
          </ac:spMkLst>
        </pc:spChg>
      </pc:sldChg>
      <pc:sldChg chg="add del setBg">
        <pc:chgData name="Lara Cruz" userId="b0f71b28-16e3-44a7-b9d4-cbd6d38f3b0b" providerId="ADAL" clId="{C29845DB-5328-4AFF-A359-B1681B2A9272}" dt="2023-06-16T16:06:13.174" v="110" actId="47"/>
        <pc:sldMkLst>
          <pc:docMk/>
          <pc:sldMk cId="2372929136" sldId="2147374865"/>
        </pc:sldMkLst>
      </pc:sldChg>
      <pc:sldChg chg="del">
        <pc:chgData name="Lara Cruz" userId="b0f71b28-16e3-44a7-b9d4-cbd6d38f3b0b" providerId="ADAL" clId="{C29845DB-5328-4AFF-A359-B1681B2A9272}" dt="2023-06-19T12:30:54.030" v="209" actId="47"/>
        <pc:sldMkLst>
          <pc:docMk/>
          <pc:sldMk cId="763814619" sldId="2147374867"/>
        </pc:sldMkLst>
      </pc:sldChg>
    </pc:docChg>
  </pc:docChgLst>
  <pc:docChgLst>
    <pc:chgData name="Lara Cruz" userId="S::lara.cruz@bettercotton.org::b0f71b28-16e3-44a7-b9d4-cbd6d38f3b0b" providerId="AD" clId="Web-{2E76CDD4-00BF-4FF9-120A-C8C8054AD4EB}"/>
    <pc:docChg chg="addSld delSld addMainMaster modMainMaster">
      <pc:chgData name="Lara Cruz" userId="S::lara.cruz@bettercotton.org::b0f71b28-16e3-44a7-b9d4-cbd6d38f3b0b" providerId="AD" clId="Web-{2E76CDD4-00BF-4FF9-120A-C8C8054AD4EB}" dt="2023-06-15T09:19:15.686" v="7"/>
      <pc:docMkLst>
        <pc:docMk/>
      </pc:docMkLst>
      <pc:sldChg chg="del">
        <pc:chgData name="Lara Cruz" userId="S::lara.cruz@bettercotton.org::b0f71b28-16e3-44a7-b9d4-cbd6d38f3b0b" providerId="AD" clId="Web-{2E76CDD4-00BF-4FF9-120A-C8C8054AD4EB}" dt="2023-06-15T09:19:15.686" v="7"/>
        <pc:sldMkLst>
          <pc:docMk/>
          <pc:sldMk cId="2034496485" sldId="2147374854"/>
        </pc:sldMkLst>
      </pc:sldChg>
      <pc:sldChg chg="add">
        <pc:chgData name="Lara Cruz" userId="S::lara.cruz@bettercotton.org::b0f71b28-16e3-44a7-b9d4-cbd6d38f3b0b" providerId="AD" clId="Web-{2E76CDD4-00BF-4FF9-120A-C8C8054AD4EB}" dt="2023-06-15T09:18:45.763" v="0"/>
        <pc:sldMkLst>
          <pc:docMk/>
          <pc:sldMk cId="1565550925" sldId="2147374856"/>
        </pc:sldMkLst>
      </pc:sldChg>
      <pc:sldChg chg="add">
        <pc:chgData name="Lara Cruz" userId="S::lara.cruz@bettercotton.org::b0f71b28-16e3-44a7-b9d4-cbd6d38f3b0b" providerId="AD" clId="Web-{2E76CDD4-00BF-4FF9-120A-C8C8054AD4EB}" dt="2023-06-15T09:18:50.857" v="1"/>
        <pc:sldMkLst>
          <pc:docMk/>
          <pc:sldMk cId="900975027" sldId="2147374857"/>
        </pc:sldMkLst>
      </pc:sldChg>
      <pc:sldChg chg="add">
        <pc:chgData name="Lara Cruz" userId="S::lara.cruz@bettercotton.org::b0f71b28-16e3-44a7-b9d4-cbd6d38f3b0b" providerId="AD" clId="Web-{2E76CDD4-00BF-4FF9-120A-C8C8054AD4EB}" dt="2023-06-15T09:18:54.716" v="2"/>
        <pc:sldMkLst>
          <pc:docMk/>
          <pc:sldMk cId="2531381248" sldId="2147374858"/>
        </pc:sldMkLst>
      </pc:sldChg>
      <pc:sldChg chg="add">
        <pc:chgData name="Lara Cruz" userId="S::lara.cruz@bettercotton.org::b0f71b28-16e3-44a7-b9d4-cbd6d38f3b0b" providerId="AD" clId="Web-{2E76CDD4-00BF-4FF9-120A-C8C8054AD4EB}" dt="2023-06-15T09:18:58.466" v="3"/>
        <pc:sldMkLst>
          <pc:docMk/>
          <pc:sldMk cId="837150247" sldId="2147374859"/>
        </pc:sldMkLst>
      </pc:sldChg>
      <pc:sldChg chg="add">
        <pc:chgData name="Lara Cruz" userId="S::lara.cruz@bettercotton.org::b0f71b28-16e3-44a7-b9d4-cbd6d38f3b0b" providerId="AD" clId="Web-{2E76CDD4-00BF-4FF9-120A-C8C8054AD4EB}" dt="2023-06-15T09:19:03.310" v="4"/>
        <pc:sldMkLst>
          <pc:docMk/>
          <pc:sldMk cId="3951829472" sldId="2147374860"/>
        </pc:sldMkLst>
      </pc:sldChg>
      <pc:sldChg chg="add">
        <pc:chgData name="Lara Cruz" userId="S::lara.cruz@bettercotton.org::b0f71b28-16e3-44a7-b9d4-cbd6d38f3b0b" providerId="AD" clId="Web-{2E76CDD4-00BF-4FF9-120A-C8C8054AD4EB}" dt="2023-06-15T09:19:05.873" v="5"/>
        <pc:sldMkLst>
          <pc:docMk/>
          <pc:sldMk cId="2516727111" sldId="2147374861"/>
        </pc:sldMkLst>
      </pc:sldChg>
      <pc:sldChg chg="add">
        <pc:chgData name="Lara Cruz" userId="S::lara.cruz@bettercotton.org::b0f71b28-16e3-44a7-b9d4-cbd6d38f3b0b" providerId="AD" clId="Web-{2E76CDD4-00BF-4FF9-120A-C8C8054AD4EB}" dt="2023-06-15T09:19:09.076" v="6"/>
        <pc:sldMkLst>
          <pc:docMk/>
          <pc:sldMk cId="913260783" sldId="2147374862"/>
        </pc:sldMkLst>
      </pc:sldChg>
      <pc:sldMasterChg chg="add addSldLayout">
        <pc:chgData name="Lara Cruz" userId="S::lara.cruz@bettercotton.org::b0f71b28-16e3-44a7-b9d4-cbd6d38f3b0b" providerId="AD" clId="Web-{2E76CDD4-00BF-4FF9-120A-C8C8054AD4EB}" dt="2023-06-15T09:19:09.076" v="6"/>
        <pc:sldMasterMkLst>
          <pc:docMk/>
          <pc:sldMasterMk cId="946163275" sldId="2147483648"/>
        </pc:sldMasterMkLst>
        <pc:sldLayoutChg chg="add">
          <pc:chgData name="Lara Cruz" userId="S::lara.cruz@bettercotton.org::b0f71b28-16e3-44a7-b9d4-cbd6d38f3b0b" providerId="AD" clId="Web-{2E76CDD4-00BF-4FF9-120A-C8C8054AD4EB}" dt="2023-06-15T09:18:45.763" v="0"/>
          <pc:sldLayoutMkLst>
            <pc:docMk/>
            <pc:sldMasterMk cId="946163275" sldId="2147483648"/>
            <pc:sldLayoutMk cId="1334038435" sldId="2147483649"/>
          </pc:sldLayoutMkLst>
        </pc:sldLayoutChg>
        <pc:sldLayoutChg chg="add">
          <pc:chgData name="Lara Cruz" userId="S::lara.cruz@bettercotton.org::b0f71b28-16e3-44a7-b9d4-cbd6d38f3b0b" providerId="AD" clId="Web-{2E76CDD4-00BF-4FF9-120A-C8C8054AD4EB}" dt="2023-06-15T09:18:54.716" v="2"/>
          <pc:sldLayoutMkLst>
            <pc:docMk/>
            <pc:sldMasterMk cId="946163275" sldId="2147483648"/>
            <pc:sldLayoutMk cId="1505855276" sldId="2147483654"/>
          </pc:sldLayoutMkLst>
        </pc:sldLayoutChg>
        <pc:sldLayoutChg chg="add">
          <pc:chgData name="Lara Cruz" userId="S::lara.cruz@bettercotton.org::b0f71b28-16e3-44a7-b9d4-cbd6d38f3b0b" providerId="AD" clId="Web-{2E76CDD4-00BF-4FF9-120A-C8C8054AD4EB}" dt="2023-06-15T09:18:50.857" v="1"/>
          <pc:sldLayoutMkLst>
            <pc:docMk/>
            <pc:sldMasterMk cId="946163275" sldId="2147483648"/>
            <pc:sldLayoutMk cId="1350103997" sldId="2147483658"/>
          </pc:sldLayoutMkLst>
        </pc:sldLayoutChg>
        <pc:sldLayoutChg chg="add">
          <pc:chgData name="Lara Cruz" userId="S::lara.cruz@bettercotton.org::b0f71b28-16e3-44a7-b9d4-cbd6d38f3b0b" providerId="AD" clId="Web-{2E76CDD4-00BF-4FF9-120A-C8C8054AD4EB}" dt="2023-06-15T09:18:58.466" v="3"/>
          <pc:sldLayoutMkLst>
            <pc:docMk/>
            <pc:sldMasterMk cId="946163275" sldId="2147483648"/>
            <pc:sldLayoutMk cId="1987784647" sldId="2147483660"/>
          </pc:sldLayoutMkLst>
        </pc:sldLayoutChg>
        <pc:sldLayoutChg chg="add">
          <pc:chgData name="Lara Cruz" userId="S::lara.cruz@bettercotton.org::b0f71b28-16e3-44a7-b9d4-cbd6d38f3b0b" providerId="AD" clId="Web-{2E76CDD4-00BF-4FF9-120A-C8C8054AD4EB}" dt="2023-06-15T09:19:09.076" v="6"/>
          <pc:sldLayoutMkLst>
            <pc:docMk/>
            <pc:sldMasterMk cId="946163275" sldId="2147483648"/>
            <pc:sldLayoutMk cId="3189010068" sldId="2147483664"/>
          </pc:sldLayoutMkLst>
        </pc:sldLayoutChg>
        <pc:sldLayoutChg chg="add">
          <pc:chgData name="Lara Cruz" userId="S::lara.cruz@bettercotton.org::b0f71b28-16e3-44a7-b9d4-cbd6d38f3b0b" providerId="AD" clId="Web-{2E76CDD4-00BF-4FF9-120A-C8C8054AD4EB}" dt="2023-06-15T09:19:05.873" v="5"/>
          <pc:sldLayoutMkLst>
            <pc:docMk/>
            <pc:sldMasterMk cId="946163275" sldId="2147483648"/>
            <pc:sldLayoutMk cId="863468265" sldId="2147483669"/>
          </pc:sldLayoutMkLst>
        </pc:sldLayoutChg>
      </pc:sldMasterChg>
      <pc:sldMasterChg chg="replId modSldLayout">
        <pc:chgData name="Lara Cruz" userId="S::lara.cruz@bettercotton.org::b0f71b28-16e3-44a7-b9d4-cbd6d38f3b0b" providerId="AD" clId="Web-{2E76CDD4-00BF-4FF9-120A-C8C8054AD4EB}" dt="2023-06-15T09:19:09.076" v="6"/>
        <pc:sldMasterMkLst>
          <pc:docMk/>
          <pc:sldMasterMk cId="0" sldId="2147483711"/>
        </pc:sldMasterMkLst>
        <pc:sldLayoutChg chg="replId">
          <pc:chgData name="Lara Cruz" userId="S::lara.cruz@bettercotton.org::b0f71b28-16e3-44a7-b9d4-cbd6d38f3b0b" providerId="AD" clId="Web-{2E76CDD4-00BF-4FF9-120A-C8C8054AD4EB}" dt="2023-06-15T09:19:09.076" v="6"/>
          <pc:sldLayoutMkLst>
            <pc:docMk/>
            <pc:sldMasterMk cId="0" sldId="2147483711"/>
            <pc:sldLayoutMk cId="0" sldId="2147483712"/>
          </pc:sldLayoutMkLst>
        </pc:sldLayoutChg>
      </pc:sldMasterChg>
    </pc:docChg>
  </pc:docChgLst>
  <pc:docChgLst>
    <pc:chgData name="Naomi Ho" userId="S::naomi.ho@bettercotton.org::2faf95aa-450d-4d35-8c7f-d27430629a1c" providerId="AD" clId="Web-{92E26EB2-FA1E-DF75-8230-2DE185BCD705}"/>
    <pc:docChg chg="addSld modSld">
      <pc:chgData name="Naomi Ho" userId="S::naomi.ho@bettercotton.org::2faf95aa-450d-4d35-8c7f-d27430629a1c" providerId="AD" clId="Web-{92E26EB2-FA1E-DF75-8230-2DE185BCD705}" dt="2023-06-06T08:07:25.248" v="25" actId="1076"/>
      <pc:docMkLst>
        <pc:docMk/>
      </pc:docMkLst>
      <pc:sldChg chg="delSp modSp">
        <pc:chgData name="Naomi Ho" userId="S::naomi.ho@bettercotton.org::2faf95aa-450d-4d35-8c7f-d27430629a1c" providerId="AD" clId="Web-{92E26EB2-FA1E-DF75-8230-2DE185BCD705}" dt="2023-06-06T08:05:25.370" v="5"/>
        <pc:sldMkLst>
          <pc:docMk/>
          <pc:sldMk cId="1138175935" sldId="292"/>
        </pc:sldMkLst>
        <pc:spChg chg="del mod">
          <ac:chgData name="Naomi Ho" userId="S::naomi.ho@bettercotton.org::2faf95aa-450d-4d35-8c7f-d27430629a1c" providerId="AD" clId="Web-{92E26EB2-FA1E-DF75-8230-2DE185BCD705}" dt="2023-06-06T08:05:25.370" v="5"/>
          <ac:spMkLst>
            <pc:docMk/>
            <pc:sldMk cId="1138175935" sldId="292"/>
            <ac:spMk id="18" creationId="{8DE207BB-C5D4-4F24-B248-9E88BAE129BE}"/>
          </ac:spMkLst>
        </pc:spChg>
        <pc:spChg chg="del">
          <ac:chgData name="Naomi Ho" userId="S::naomi.ho@bettercotton.org::2faf95aa-450d-4d35-8c7f-d27430629a1c" providerId="AD" clId="Web-{92E26EB2-FA1E-DF75-8230-2DE185BCD705}" dt="2023-06-06T08:05:15.151" v="0"/>
          <ac:spMkLst>
            <pc:docMk/>
            <pc:sldMk cId="1138175935" sldId="292"/>
            <ac:spMk id="20" creationId="{45792D2E-6BEE-4838-AE92-3B32AE5DBD33}"/>
          </ac:spMkLst>
        </pc:spChg>
        <pc:spChg chg="mod">
          <ac:chgData name="Naomi Ho" userId="S::naomi.ho@bettercotton.org::2faf95aa-450d-4d35-8c7f-d27430629a1c" providerId="AD" clId="Web-{92E26EB2-FA1E-DF75-8230-2DE185BCD705}" dt="2023-06-06T08:05:19.651" v="2" actId="1076"/>
          <ac:spMkLst>
            <pc:docMk/>
            <pc:sldMk cId="1138175935" sldId="292"/>
            <ac:spMk id="25" creationId="{DD37C7B6-AE61-47FE-9F3C-2EB017FB748E}"/>
          </ac:spMkLst>
        </pc:spChg>
        <pc:cxnChg chg="del">
          <ac:chgData name="Naomi Ho" userId="S::naomi.ho@bettercotton.org::2faf95aa-450d-4d35-8c7f-d27430629a1c" providerId="AD" clId="Web-{92E26EB2-FA1E-DF75-8230-2DE185BCD705}" dt="2023-06-06T08:05:15.167" v="1"/>
          <ac:cxnSpMkLst>
            <pc:docMk/>
            <pc:sldMk cId="1138175935" sldId="292"/>
            <ac:cxnSpMk id="16" creationId="{B0872B05-3F48-4601-A96E-861580B148FB}"/>
          </ac:cxnSpMkLst>
        </pc:cxnChg>
      </pc:sldChg>
      <pc:sldChg chg="modSp">
        <pc:chgData name="Naomi Ho" userId="S::naomi.ho@bettercotton.org::2faf95aa-450d-4d35-8c7f-d27430629a1c" providerId="AD" clId="Web-{92E26EB2-FA1E-DF75-8230-2DE185BCD705}" dt="2023-06-06T08:07:25.248" v="25" actId="1076"/>
        <pc:sldMkLst>
          <pc:docMk/>
          <pc:sldMk cId="3453555056" sldId="295"/>
        </pc:sldMkLst>
        <pc:spChg chg="mod">
          <ac:chgData name="Naomi Ho" userId="S::naomi.ho@bettercotton.org::2faf95aa-450d-4d35-8c7f-d27430629a1c" providerId="AD" clId="Web-{92E26EB2-FA1E-DF75-8230-2DE185BCD705}" dt="2023-06-06T08:07:25.248" v="25" actId="1076"/>
          <ac:spMkLst>
            <pc:docMk/>
            <pc:sldMk cId="3453555056" sldId="295"/>
            <ac:spMk id="18" creationId="{2FE7C207-7979-7DDB-C5B5-65975D660D5C}"/>
          </ac:spMkLst>
        </pc:spChg>
      </pc:sldChg>
      <pc:sldChg chg="delSp modSp add replId">
        <pc:chgData name="Naomi Ho" userId="S::naomi.ho@bettercotton.org::2faf95aa-450d-4d35-8c7f-d27430629a1c" providerId="AD" clId="Web-{92E26EB2-FA1E-DF75-8230-2DE185BCD705}" dt="2023-06-06T08:06:30.419" v="24" actId="1076"/>
        <pc:sldMkLst>
          <pc:docMk/>
          <pc:sldMk cId="515512297" sldId="296"/>
        </pc:sldMkLst>
        <pc:spChg chg="del">
          <ac:chgData name="Naomi Ho" userId="S::naomi.ho@bettercotton.org::2faf95aa-450d-4d35-8c7f-d27430629a1c" providerId="AD" clId="Web-{92E26EB2-FA1E-DF75-8230-2DE185BCD705}" dt="2023-06-06T08:05:48.761" v="9"/>
          <ac:spMkLst>
            <pc:docMk/>
            <pc:sldMk cId="515512297" sldId="296"/>
            <ac:spMk id="7" creationId="{BE608B91-E1F9-5202-1965-57A151528AC8}"/>
          </ac:spMkLst>
        </pc:spChg>
        <pc:spChg chg="mod">
          <ac:chgData name="Naomi Ho" userId="S::naomi.ho@bettercotton.org::2faf95aa-450d-4d35-8c7f-d27430629a1c" providerId="AD" clId="Web-{92E26EB2-FA1E-DF75-8230-2DE185BCD705}" dt="2023-06-06T08:06:30.419" v="24" actId="1076"/>
          <ac:spMkLst>
            <pc:docMk/>
            <pc:sldMk cId="515512297" sldId="296"/>
            <ac:spMk id="17" creationId="{AC1603E2-7225-D631-0A5D-4EF9652B2B0C}"/>
          </ac:spMkLst>
        </pc:spChg>
        <pc:grpChg chg="del">
          <ac:chgData name="Naomi Ho" userId="S::naomi.ho@bettercotton.org::2faf95aa-450d-4d35-8c7f-d27430629a1c" providerId="AD" clId="Web-{92E26EB2-FA1E-DF75-8230-2DE185BCD705}" dt="2023-06-06T08:05:42.011" v="7"/>
          <ac:grpSpMkLst>
            <pc:docMk/>
            <pc:sldMk cId="515512297" sldId="296"/>
            <ac:grpSpMk id="5" creationId="{36CF1129-B85E-9C0C-C8ED-3F2FBFCCA473}"/>
          </ac:grpSpMkLst>
        </pc:grpChg>
        <pc:grpChg chg="del">
          <ac:chgData name="Naomi Ho" userId="S::naomi.ho@bettercotton.org::2faf95aa-450d-4d35-8c7f-d27430629a1c" providerId="AD" clId="Web-{92E26EB2-FA1E-DF75-8230-2DE185BCD705}" dt="2023-06-06T08:05:42.027" v="8"/>
          <ac:grpSpMkLst>
            <pc:docMk/>
            <pc:sldMk cId="515512297" sldId="296"/>
            <ac:grpSpMk id="16" creationId="{ED012F06-FF46-2696-EDD2-1B69DC496622}"/>
          </ac:grpSpMkLst>
        </pc:grpChg>
        <pc:cxnChg chg="del">
          <ac:chgData name="Naomi Ho" userId="S::naomi.ho@bettercotton.org::2faf95aa-450d-4d35-8c7f-d27430629a1c" providerId="AD" clId="Web-{92E26EB2-FA1E-DF75-8230-2DE185BCD705}" dt="2023-06-06T08:05:48.777" v="10"/>
          <ac:cxnSpMkLst>
            <pc:docMk/>
            <pc:sldMk cId="515512297" sldId="296"/>
            <ac:cxnSpMk id="23" creationId="{EB2D47C8-B163-4B3B-BC37-222578A82313}"/>
          </ac:cxnSpMkLst>
        </pc:cxnChg>
      </pc:sldChg>
    </pc:docChg>
  </pc:docChgLst>
  <pc:docChgLst>
    <pc:chgData name="Niranjana Rajesh" userId="43dc2825-6106-411f-963a-a383a1d7d429" providerId="ADAL" clId="{A236E636-B115-44A7-8389-A460ECA142FB}"/>
    <pc:docChg chg="undo custSel addSld delSld modSld sldOrd delMainMaster">
      <pc:chgData name="Niranjana Rajesh" userId="43dc2825-6106-411f-963a-a383a1d7d429" providerId="ADAL" clId="{A236E636-B115-44A7-8389-A460ECA142FB}" dt="2023-06-20T16:00:24.610" v="1769" actId="20577"/>
      <pc:docMkLst>
        <pc:docMk/>
      </pc:docMkLst>
      <pc:sldChg chg="addSp modSp mod">
        <pc:chgData name="Niranjana Rajesh" userId="43dc2825-6106-411f-963a-a383a1d7d429" providerId="ADAL" clId="{A236E636-B115-44A7-8389-A460ECA142FB}" dt="2023-06-05T18:19:56.027" v="522" actId="20577"/>
        <pc:sldMkLst>
          <pc:docMk/>
          <pc:sldMk cId="859432995" sldId="283"/>
        </pc:sldMkLst>
        <pc:spChg chg="add mod">
          <ac:chgData name="Niranjana Rajesh" userId="43dc2825-6106-411f-963a-a383a1d7d429" providerId="ADAL" clId="{A236E636-B115-44A7-8389-A460ECA142FB}" dt="2023-06-05T17:30:04.502" v="100" actId="20577"/>
          <ac:spMkLst>
            <pc:docMk/>
            <pc:sldMk cId="859432995" sldId="283"/>
            <ac:spMk id="2" creationId="{026E42E7-79D2-380D-6DA1-2D74885C967E}"/>
          </ac:spMkLst>
        </pc:spChg>
        <pc:spChg chg="mod">
          <ac:chgData name="Niranjana Rajesh" userId="43dc2825-6106-411f-963a-a383a1d7d429" providerId="ADAL" clId="{A236E636-B115-44A7-8389-A460ECA142FB}" dt="2023-06-05T17:28:41.150" v="80" actId="1076"/>
          <ac:spMkLst>
            <pc:docMk/>
            <pc:sldMk cId="859432995" sldId="283"/>
            <ac:spMk id="18" creationId="{8DE207BB-C5D4-4F24-B248-9E88BAE129BE}"/>
          </ac:spMkLst>
        </pc:spChg>
        <pc:spChg chg="mod">
          <ac:chgData name="Niranjana Rajesh" userId="43dc2825-6106-411f-963a-a383a1d7d429" providerId="ADAL" clId="{A236E636-B115-44A7-8389-A460ECA142FB}" dt="2023-06-05T18:19:56.027" v="522" actId="20577"/>
          <ac:spMkLst>
            <pc:docMk/>
            <pc:sldMk cId="859432995" sldId="283"/>
            <ac:spMk id="20" creationId="{45792D2E-6BEE-4838-AE92-3B32AE5DBD33}"/>
          </ac:spMkLst>
        </pc:spChg>
      </pc:sldChg>
      <pc:sldChg chg="addSp delSp modSp mod">
        <pc:chgData name="Niranjana Rajesh" userId="43dc2825-6106-411f-963a-a383a1d7d429" providerId="ADAL" clId="{A236E636-B115-44A7-8389-A460ECA142FB}" dt="2023-06-09T07:59:39.226" v="1363" actId="255"/>
        <pc:sldMkLst>
          <pc:docMk/>
          <pc:sldMk cId="824739939" sldId="288"/>
        </pc:sldMkLst>
        <pc:spChg chg="mod">
          <ac:chgData name="Niranjana Rajesh" userId="43dc2825-6106-411f-963a-a383a1d7d429" providerId="ADAL" clId="{A236E636-B115-44A7-8389-A460ECA142FB}" dt="2023-06-05T17:14:48.996" v="38" actId="14100"/>
          <ac:spMkLst>
            <pc:docMk/>
            <pc:sldMk cId="824739939" sldId="288"/>
            <ac:spMk id="3" creationId="{71DA2796-63A2-45F2-BA29-24BA5E301F44}"/>
          </ac:spMkLst>
        </pc:spChg>
        <pc:spChg chg="add mod ord">
          <ac:chgData name="Niranjana Rajesh" userId="43dc2825-6106-411f-963a-a383a1d7d429" providerId="ADAL" clId="{A236E636-B115-44A7-8389-A460ECA142FB}" dt="2023-06-05T18:41:02.869" v="781" actId="1076"/>
          <ac:spMkLst>
            <pc:docMk/>
            <pc:sldMk cId="824739939" sldId="288"/>
            <ac:spMk id="7" creationId="{BE608B91-E1F9-5202-1965-57A151528AC8}"/>
          </ac:spMkLst>
        </pc:spChg>
        <pc:spChg chg="mod">
          <ac:chgData name="Niranjana Rajesh" userId="43dc2825-6106-411f-963a-a383a1d7d429" providerId="ADAL" clId="{A236E636-B115-44A7-8389-A460ECA142FB}" dt="2023-06-09T07:59:32.280" v="1362" actId="255"/>
          <ac:spMkLst>
            <pc:docMk/>
            <pc:sldMk cId="824739939" sldId="288"/>
            <ac:spMk id="8" creationId="{2E3DE34E-FD04-AF7B-A842-C650E29F40A6}"/>
          </ac:spMkLst>
        </pc:spChg>
        <pc:spChg chg="mod">
          <ac:chgData name="Niranjana Rajesh" userId="43dc2825-6106-411f-963a-a383a1d7d429" providerId="ADAL" clId="{A236E636-B115-44A7-8389-A460ECA142FB}" dt="2023-06-05T18:18:55.246" v="506" actId="1076"/>
          <ac:spMkLst>
            <pc:docMk/>
            <pc:sldMk cId="824739939" sldId="288"/>
            <ac:spMk id="12" creationId="{E01AE70E-97E5-1343-D8F9-C314F1AB53B1}"/>
          </ac:spMkLst>
        </pc:spChg>
        <pc:spChg chg="mod">
          <ac:chgData name="Niranjana Rajesh" userId="43dc2825-6106-411f-963a-a383a1d7d429" providerId="ADAL" clId="{A236E636-B115-44A7-8389-A460ECA142FB}" dt="2023-06-09T07:59:39.226" v="1363" actId="255"/>
          <ac:spMkLst>
            <pc:docMk/>
            <pc:sldMk cId="824739939" sldId="288"/>
            <ac:spMk id="14" creationId="{216470CD-F661-AEF3-C1C9-97D75D763106}"/>
          </ac:spMkLst>
        </pc:spChg>
        <pc:spChg chg="mod">
          <ac:chgData name="Niranjana Rajesh" userId="43dc2825-6106-411f-963a-a383a1d7d429" providerId="ADAL" clId="{A236E636-B115-44A7-8389-A460ECA142FB}" dt="2023-06-05T17:14:33.816" v="34" actId="1076"/>
          <ac:spMkLst>
            <pc:docMk/>
            <pc:sldMk cId="824739939" sldId="288"/>
            <ac:spMk id="17" creationId="{AC1603E2-7225-D631-0A5D-4EF9652B2B0C}"/>
          </ac:spMkLst>
        </pc:spChg>
        <pc:spChg chg="del mod">
          <ac:chgData name="Niranjana Rajesh" userId="43dc2825-6106-411f-963a-a383a1d7d429" providerId="ADAL" clId="{A236E636-B115-44A7-8389-A460ECA142FB}" dt="2023-06-05T17:20:29.951" v="74" actId="478"/>
          <ac:spMkLst>
            <pc:docMk/>
            <pc:sldMk cId="824739939" sldId="288"/>
            <ac:spMk id="18" creationId="{2FE7C207-7979-7DDB-C5B5-65975D660D5C}"/>
          </ac:spMkLst>
        </pc:spChg>
        <pc:spChg chg="mod">
          <ac:chgData name="Niranjana Rajesh" userId="43dc2825-6106-411f-963a-a383a1d7d429" providerId="ADAL" clId="{A236E636-B115-44A7-8389-A460ECA142FB}" dt="2023-06-05T18:20:24.699" v="538" actId="20577"/>
          <ac:spMkLst>
            <pc:docMk/>
            <pc:sldMk cId="824739939" sldId="288"/>
            <ac:spMk id="25" creationId="{DB19D8FE-B649-8745-B5DA-03209BD04D6F}"/>
          </ac:spMkLst>
        </pc:spChg>
        <pc:spChg chg="mod">
          <ac:chgData name="Niranjana Rajesh" userId="43dc2825-6106-411f-963a-a383a1d7d429" providerId="ADAL" clId="{A236E636-B115-44A7-8389-A460ECA142FB}" dt="2023-06-05T17:32:03.585" v="106" actId="255"/>
          <ac:spMkLst>
            <pc:docMk/>
            <pc:sldMk cId="824739939" sldId="288"/>
            <ac:spMk id="34" creationId="{724CFC56-AE5C-448B-9F72-F57F297529F4}"/>
          </ac:spMkLst>
        </pc:spChg>
        <pc:grpChg chg="mod">
          <ac:chgData name="Niranjana Rajesh" userId="43dc2825-6106-411f-963a-a383a1d7d429" providerId="ADAL" clId="{A236E636-B115-44A7-8389-A460ECA142FB}" dt="2023-06-05T17:14:58.070" v="39" actId="14100"/>
          <ac:grpSpMkLst>
            <pc:docMk/>
            <pc:sldMk cId="824739939" sldId="288"/>
            <ac:grpSpMk id="5" creationId="{36CF1129-B85E-9C0C-C8ED-3F2FBFCCA473}"/>
          </ac:grpSpMkLst>
        </pc:grpChg>
        <pc:grpChg chg="mod">
          <ac:chgData name="Niranjana Rajesh" userId="43dc2825-6106-411f-963a-a383a1d7d429" providerId="ADAL" clId="{A236E636-B115-44A7-8389-A460ECA142FB}" dt="2023-06-05T18:41:07.208" v="782" actId="1076"/>
          <ac:grpSpMkLst>
            <pc:docMk/>
            <pc:sldMk cId="824739939" sldId="288"/>
            <ac:grpSpMk id="16" creationId="{ED012F06-FF46-2696-EDD2-1B69DC496622}"/>
          </ac:grpSpMkLst>
        </pc:grpChg>
        <pc:grpChg chg="del">
          <ac:chgData name="Niranjana Rajesh" userId="43dc2825-6106-411f-963a-a383a1d7d429" providerId="ADAL" clId="{A236E636-B115-44A7-8389-A460ECA142FB}" dt="2023-06-05T17:13:52.265" v="22" actId="478"/>
          <ac:grpSpMkLst>
            <pc:docMk/>
            <pc:sldMk cId="824739939" sldId="288"/>
            <ac:grpSpMk id="36" creationId="{D510A60A-AFFE-0B65-DF06-0228F0EC747F}"/>
          </ac:grpSpMkLst>
        </pc:grpChg>
        <pc:picChg chg="mod">
          <ac:chgData name="Niranjana Rajesh" userId="43dc2825-6106-411f-963a-a383a1d7d429" providerId="ADAL" clId="{A236E636-B115-44A7-8389-A460ECA142FB}" dt="2023-06-05T17:31:34.862" v="103" actId="14100"/>
          <ac:picMkLst>
            <pc:docMk/>
            <pc:sldMk cId="824739939" sldId="288"/>
            <ac:picMk id="11" creationId="{8E89BE0E-C03B-3D48-0210-08452D43FC17}"/>
          </ac:picMkLst>
        </pc:picChg>
        <pc:picChg chg="del mod">
          <ac:chgData name="Niranjana Rajesh" userId="43dc2825-6106-411f-963a-a383a1d7d429" providerId="ADAL" clId="{A236E636-B115-44A7-8389-A460ECA142FB}" dt="2023-06-05T17:18:50.514" v="52" actId="21"/>
          <ac:picMkLst>
            <pc:docMk/>
            <pc:sldMk cId="824739939" sldId="288"/>
            <ac:picMk id="15" creationId="{1823DEA9-DC2E-2912-368A-2770542CBF6F}"/>
          </ac:picMkLst>
        </pc:picChg>
        <pc:cxnChg chg="del">
          <ac:chgData name="Niranjana Rajesh" userId="43dc2825-6106-411f-963a-a383a1d7d429" providerId="ADAL" clId="{A236E636-B115-44A7-8389-A460ECA142FB}" dt="2023-06-05T17:13:59.427" v="24" actId="478"/>
          <ac:cxnSpMkLst>
            <pc:docMk/>
            <pc:sldMk cId="824739939" sldId="288"/>
            <ac:cxnSpMk id="13" creationId="{5233BBF6-80B9-E37E-25FC-37CAB833B521}"/>
          </ac:cxnSpMkLst>
        </pc:cxnChg>
        <pc:cxnChg chg="del">
          <ac:chgData name="Niranjana Rajesh" userId="43dc2825-6106-411f-963a-a383a1d7d429" providerId="ADAL" clId="{A236E636-B115-44A7-8389-A460ECA142FB}" dt="2023-06-05T17:13:56.722" v="23" actId="478"/>
          <ac:cxnSpMkLst>
            <pc:docMk/>
            <pc:sldMk cId="824739939" sldId="288"/>
            <ac:cxnSpMk id="14" creationId="{7EDE9661-4245-DD74-F6A2-DD7F25FB5E2B}"/>
          </ac:cxnSpMkLst>
        </pc:cxnChg>
        <pc:cxnChg chg="mod">
          <ac:chgData name="Niranjana Rajesh" userId="43dc2825-6106-411f-963a-a383a1d7d429" providerId="ADAL" clId="{A236E636-B115-44A7-8389-A460ECA142FB}" dt="2023-06-05T17:14:11.895" v="27" actId="14100"/>
          <ac:cxnSpMkLst>
            <pc:docMk/>
            <pc:sldMk cId="824739939" sldId="288"/>
            <ac:cxnSpMk id="23" creationId="{EB2D47C8-B163-4B3B-BC37-222578A82313}"/>
          </ac:cxnSpMkLst>
        </pc:cxnChg>
        <pc:cxnChg chg="del">
          <ac:chgData name="Niranjana Rajesh" userId="43dc2825-6106-411f-963a-a383a1d7d429" providerId="ADAL" clId="{A236E636-B115-44A7-8389-A460ECA142FB}" dt="2023-06-05T17:15:04.072" v="40" actId="478"/>
          <ac:cxnSpMkLst>
            <pc:docMk/>
            <pc:sldMk cId="824739939" sldId="288"/>
            <ac:cxnSpMk id="41" creationId="{F7EA56B0-54AB-54A6-296D-39845DF62FBF}"/>
          </ac:cxnSpMkLst>
        </pc:cxnChg>
      </pc:sldChg>
      <pc:sldChg chg="addSp delSp modSp mod">
        <pc:chgData name="Niranjana Rajesh" userId="43dc2825-6106-411f-963a-a383a1d7d429" providerId="ADAL" clId="{A236E636-B115-44A7-8389-A460ECA142FB}" dt="2023-06-19T12:52:49.338" v="1452" actId="14826"/>
        <pc:sldMkLst>
          <pc:docMk/>
          <pc:sldMk cId="2385738458" sldId="289"/>
        </pc:sldMkLst>
        <pc:spChg chg="mod">
          <ac:chgData name="Niranjana Rajesh" userId="43dc2825-6106-411f-963a-a383a1d7d429" providerId="ADAL" clId="{A236E636-B115-44A7-8389-A460ECA142FB}" dt="2023-06-05T18:15:42.318" v="430" actId="1076"/>
          <ac:spMkLst>
            <pc:docMk/>
            <pc:sldMk cId="2385738458" sldId="289"/>
            <ac:spMk id="3" creationId="{71DA2796-63A2-45F2-BA29-24BA5E301F44}"/>
          </ac:spMkLst>
        </pc:spChg>
        <pc:spChg chg="mod">
          <ac:chgData name="Niranjana Rajesh" userId="43dc2825-6106-411f-963a-a383a1d7d429" providerId="ADAL" clId="{A236E636-B115-44A7-8389-A460ECA142FB}" dt="2023-06-19T12:52:49.338" v="1452" actId="14826"/>
          <ac:spMkLst>
            <pc:docMk/>
            <pc:sldMk cId="2385738458" sldId="289"/>
            <ac:spMk id="6" creationId="{1F7E9F6C-9EBE-72DF-9DE1-A1A9A9038BB3}"/>
          </ac:spMkLst>
        </pc:spChg>
        <pc:spChg chg="mod">
          <ac:chgData name="Niranjana Rajesh" userId="43dc2825-6106-411f-963a-a383a1d7d429" providerId="ADAL" clId="{A236E636-B115-44A7-8389-A460ECA142FB}" dt="2023-06-19T12:52:49.338" v="1452" actId="14826"/>
          <ac:spMkLst>
            <pc:docMk/>
            <pc:sldMk cId="2385738458" sldId="289"/>
            <ac:spMk id="7" creationId="{F4D43090-EF5E-6760-16E5-2D1A1EB4B14B}"/>
          </ac:spMkLst>
        </pc:spChg>
        <pc:spChg chg="mod">
          <ac:chgData name="Niranjana Rajesh" userId="43dc2825-6106-411f-963a-a383a1d7d429" providerId="ADAL" clId="{A236E636-B115-44A7-8389-A460ECA142FB}" dt="2023-06-09T08:00:13.763" v="1373" actId="255"/>
          <ac:spMkLst>
            <pc:docMk/>
            <pc:sldMk cId="2385738458" sldId="289"/>
            <ac:spMk id="14" creationId="{27C6D366-ED4D-AF91-E26B-37FF441F8BB2}"/>
          </ac:spMkLst>
        </pc:spChg>
        <pc:spChg chg="mod">
          <ac:chgData name="Niranjana Rajesh" userId="43dc2825-6106-411f-963a-a383a1d7d429" providerId="ADAL" clId="{A236E636-B115-44A7-8389-A460ECA142FB}" dt="2023-06-05T17:32:51.679" v="114" actId="1076"/>
          <ac:spMkLst>
            <pc:docMk/>
            <pc:sldMk cId="2385738458" sldId="289"/>
            <ac:spMk id="17" creationId="{AC1603E2-7225-D631-0A5D-4EF9652B2B0C}"/>
          </ac:spMkLst>
        </pc:spChg>
        <pc:spChg chg="mod">
          <ac:chgData name="Niranjana Rajesh" userId="43dc2825-6106-411f-963a-a383a1d7d429" providerId="ADAL" clId="{A236E636-B115-44A7-8389-A460ECA142FB}" dt="2023-06-06T10:08:36" v="1312" actId="1076"/>
          <ac:spMkLst>
            <pc:docMk/>
            <pc:sldMk cId="2385738458" sldId="289"/>
            <ac:spMk id="18" creationId="{2FE7C207-7979-7DDB-C5B5-65975D660D5C}"/>
          </ac:spMkLst>
        </pc:spChg>
        <pc:spChg chg="mod">
          <ac:chgData name="Niranjana Rajesh" userId="43dc2825-6106-411f-963a-a383a1d7d429" providerId="ADAL" clId="{A236E636-B115-44A7-8389-A460ECA142FB}" dt="2023-06-05T18:35:59.024" v="751" actId="20577"/>
          <ac:spMkLst>
            <pc:docMk/>
            <pc:sldMk cId="2385738458" sldId="289"/>
            <ac:spMk id="20" creationId="{01A05EAE-9924-A096-762A-25AD3271E03A}"/>
          </ac:spMkLst>
        </pc:spChg>
        <pc:spChg chg="mod">
          <ac:chgData name="Niranjana Rajesh" userId="43dc2825-6106-411f-963a-a383a1d7d429" providerId="ADAL" clId="{A236E636-B115-44A7-8389-A460ECA142FB}" dt="2023-06-05T18:35:43.319" v="745" actId="20577"/>
          <ac:spMkLst>
            <pc:docMk/>
            <pc:sldMk cId="2385738458" sldId="289"/>
            <ac:spMk id="25" creationId="{DB19D8FE-B649-8745-B5DA-03209BD04D6F}"/>
          </ac:spMkLst>
        </pc:spChg>
        <pc:spChg chg="mod">
          <ac:chgData name="Niranjana Rajesh" userId="43dc2825-6106-411f-963a-a383a1d7d429" providerId="ADAL" clId="{A236E636-B115-44A7-8389-A460ECA142FB}" dt="2023-06-05T18:15:45.645" v="431" actId="1076"/>
          <ac:spMkLst>
            <pc:docMk/>
            <pc:sldMk cId="2385738458" sldId="289"/>
            <ac:spMk id="34" creationId="{724CFC56-AE5C-448B-9F72-F57F297529F4}"/>
          </ac:spMkLst>
        </pc:spChg>
        <pc:grpChg chg="mod">
          <ac:chgData name="Niranjana Rajesh" userId="43dc2825-6106-411f-963a-a383a1d7d429" providerId="ADAL" clId="{A236E636-B115-44A7-8389-A460ECA142FB}" dt="2023-06-19T12:52:49.338" v="1452" actId="14826"/>
          <ac:grpSpMkLst>
            <pc:docMk/>
            <pc:sldMk cId="2385738458" sldId="289"/>
            <ac:grpSpMk id="2" creationId="{DAF01CB8-A003-F5C8-08B8-65AAF74B58BE}"/>
          </ac:grpSpMkLst>
        </pc:grpChg>
        <pc:grpChg chg="mod">
          <ac:chgData name="Niranjana Rajesh" userId="43dc2825-6106-411f-963a-a383a1d7d429" providerId="ADAL" clId="{A236E636-B115-44A7-8389-A460ECA142FB}" dt="2023-06-05T17:33:08.509" v="120" actId="1076"/>
          <ac:grpSpMkLst>
            <pc:docMk/>
            <pc:sldMk cId="2385738458" sldId="289"/>
            <ac:grpSpMk id="5" creationId="{36CF1129-B85E-9C0C-C8ED-3F2FBFCCA473}"/>
          </ac:grpSpMkLst>
        </pc:grpChg>
        <pc:grpChg chg="mod">
          <ac:chgData name="Niranjana Rajesh" userId="43dc2825-6106-411f-963a-a383a1d7d429" providerId="ADAL" clId="{A236E636-B115-44A7-8389-A460ECA142FB}" dt="2023-06-06T10:09:32.244" v="1320" actId="14100"/>
          <ac:grpSpMkLst>
            <pc:docMk/>
            <pc:sldMk cId="2385738458" sldId="289"/>
            <ac:grpSpMk id="9" creationId="{A48F1871-6EA4-1F80-1252-ED0C7B276273}"/>
          </ac:grpSpMkLst>
        </pc:grpChg>
        <pc:grpChg chg="mod">
          <ac:chgData name="Niranjana Rajesh" userId="43dc2825-6106-411f-963a-a383a1d7d429" providerId="ADAL" clId="{A236E636-B115-44A7-8389-A460ECA142FB}" dt="2023-06-05T18:16:07.724" v="434" actId="1076"/>
          <ac:grpSpMkLst>
            <pc:docMk/>
            <pc:sldMk cId="2385738458" sldId="289"/>
            <ac:grpSpMk id="16" creationId="{ED012F06-FF46-2696-EDD2-1B69DC496622}"/>
          </ac:grpSpMkLst>
        </pc:grpChg>
        <pc:picChg chg="mod">
          <ac:chgData name="Niranjana Rajesh" userId="43dc2825-6106-411f-963a-a383a1d7d429" providerId="ADAL" clId="{A236E636-B115-44A7-8389-A460ECA142FB}" dt="2023-06-19T12:52:49.338" v="1452" actId="14826"/>
          <ac:picMkLst>
            <pc:docMk/>
            <pc:sldMk cId="2385738458" sldId="289"/>
            <ac:picMk id="8" creationId="{523D0ABE-A57F-E9A8-A3DB-28B0837FE619}"/>
          </ac:picMkLst>
        </pc:picChg>
        <pc:picChg chg="mod">
          <ac:chgData name="Niranjana Rajesh" userId="43dc2825-6106-411f-963a-a383a1d7d429" providerId="ADAL" clId="{A236E636-B115-44A7-8389-A460ECA142FB}" dt="2023-06-06T10:09:40.083" v="1321" actId="14100"/>
          <ac:picMkLst>
            <pc:docMk/>
            <pc:sldMk cId="2385738458" sldId="289"/>
            <ac:picMk id="10" creationId="{5653CF79-B129-0E22-45FA-F4CC8B2C6137}"/>
          </ac:picMkLst>
        </pc:picChg>
        <pc:picChg chg="add del mod">
          <ac:chgData name="Niranjana Rajesh" userId="43dc2825-6106-411f-963a-a383a1d7d429" providerId="ADAL" clId="{A236E636-B115-44A7-8389-A460ECA142FB}" dt="2023-06-06T10:07:27.862" v="1294" actId="478"/>
          <ac:picMkLst>
            <pc:docMk/>
            <pc:sldMk cId="2385738458" sldId="289"/>
            <ac:picMk id="21" creationId="{2CA6E5B4-7833-4D21-9F5C-782BCC71B59B}"/>
          </ac:picMkLst>
        </pc:picChg>
        <pc:picChg chg="add mod">
          <ac:chgData name="Niranjana Rajesh" userId="43dc2825-6106-411f-963a-a383a1d7d429" providerId="ADAL" clId="{A236E636-B115-44A7-8389-A460ECA142FB}" dt="2023-06-06T10:09:17.219" v="1318" actId="14100"/>
          <ac:picMkLst>
            <pc:docMk/>
            <pc:sldMk cId="2385738458" sldId="289"/>
            <ac:picMk id="22" creationId="{12E3D079-A3AE-8B95-98B8-21F98E300BF1}"/>
          </ac:picMkLst>
        </pc:picChg>
        <pc:picChg chg="mod">
          <ac:chgData name="Niranjana Rajesh" userId="43dc2825-6106-411f-963a-a383a1d7d429" providerId="ADAL" clId="{A236E636-B115-44A7-8389-A460ECA142FB}" dt="2023-06-05T18:15:50.252" v="432" actId="14100"/>
          <ac:picMkLst>
            <pc:docMk/>
            <pc:sldMk cId="2385738458" sldId="289"/>
            <ac:picMk id="39" creationId="{9394F1C0-2AA8-429C-A5AB-6D6E9A636301}"/>
          </ac:picMkLst>
        </pc:picChg>
        <pc:picChg chg="add del mod">
          <ac:chgData name="Niranjana Rajesh" userId="43dc2825-6106-411f-963a-a383a1d7d429" providerId="ADAL" clId="{A236E636-B115-44A7-8389-A460ECA142FB}" dt="2023-06-06T10:07:27.862" v="1294" actId="478"/>
          <ac:picMkLst>
            <pc:docMk/>
            <pc:sldMk cId="2385738458" sldId="289"/>
            <ac:picMk id="1026" creationId="{8D7B5C22-D7E8-4708-5A0C-3906133E6776}"/>
          </ac:picMkLst>
        </pc:picChg>
        <pc:picChg chg="add del mod">
          <ac:chgData name="Niranjana Rajesh" userId="43dc2825-6106-411f-963a-a383a1d7d429" providerId="ADAL" clId="{A236E636-B115-44A7-8389-A460ECA142FB}" dt="2023-06-06T10:07:48.951" v="1298" actId="21"/>
          <ac:picMkLst>
            <pc:docMk/>
            <pc:sldMk cId="2385738458" sldId="289"/>
            <ac:picMk id="1028" creationId="{71972ED0-CF3F-9EDC-BB4A-97D2029B9A62}"/>
          </ac:picMkLst>
        </pc:picChg>
        <pc:cxnChg chg="del">
          <ac:chgData name="Niranjana Rajesh" userId="43dc2825-6106-411f-963a-a383a1d7d429" providerId="ADAL" clId="{A236E636-B115-44A7-8389-A460ECA142FB}" dt="2023-06-05T17:32:20.742" v="107" actId="478"/>
          <ac:cxnSpMkLst>
            <pc:docMk/>
            <pc:sldMk cId="2385738458" sldId="289"/>
            <ac:cxnSpMk id="13" creationId="{5233BBF6-80B9-E37E-25FC-37CAB833B521}"/>
          </ac:cxnSpMkLst>
        </pc:cxnChg>
        <pc:cxnChg chg="del">
          <ac:chgData name="Niranjana Rajesh" userId="43dc2825-6106-411f-963a-a383a1d7d429" providerId="ADAL" clId="{A236E636-B115-44A7-8389-A460ECA142FB}" dt="2023-06-05T17:32:22.447" v="108" actId="478"/>
          <ac:cxnSpMkLst>
            <pc:docMk/>
            <pc:sldMk cId="2385738458" sldId="289"/>
            <ac:cxnSpMk id="14" creationId="{7EDE9661-4245-DD74-F6A2-DD7F25FB5E2B}"/>
          </ac:cxnSpMkLst>
        </pc:cxnChg>
        <pc:cxnChg chg="mod">
          <ac:chgData name="Niranjana Rajesh" userId="43dc2825-6106-411f-963a-a383a1d7d429" providerId="ADAL" clId="{A236E636-B115-44A7-8389-A460ECA142FB}" dt="2023-06-05T17:32:44.515" v="112" actId="14100"/>
          <ac:cxnSpMkLst>
            <pc:docMk/>
            <pc:sldMk cId="2385738458" sldId="289"/>
            <ac:cxnSpMk id="23" creationId="{EB2D47C8-B163-4B3B-BC37-222578A82313}"/>
          </ac:cxnSpMkLst>
        </pc:cxnChg>
        <pc:cxnChg chg="del">
          <ac:chgData name="Niranjana Rajesh" userId="43dc2825-6106-411f-963a-a383a1d7d429" providerId="ADAL" clId="{A236E636-B115-44A7-8389-A460ECA142FB}" dt="2023-06-05T17:33:12.986" v="121" actId="478"/>
          <ac:cxnSpMkLst>
            <pc:docMk/>
            <pc:sldMk cId="2385738458" sldId="289"/>
            <ac:cxnSpMk id="41" creationId="{F7EA56B0-54AB-54A6-296D-39845DF62FBF}"/>
          </ac:cxnSpMkLst>
        </pc:cxnChg>
      </pc:sldChg>
      <pc:sldChg chg="modSp mod">
        <pc:chgData name="Niranjana Rajesh" userId="43dc2825-6106-411f-963a-a383a1d7d429" providerId="ADAL" clId="{A236E636-B115-44A7-8389-A460ECA142FB}" dt="2023-06-05T18:48:04.199" v="1068" actId="20577"/>
        <pc:sldMkLst>
          <pc:docMk/>
          <pc:sldMk cId="2869463670" sldId="290"/>
        </pc:sldMkLst>
        <pc:spChg chg="mod">
          <ac:chgData name="Niranjana Rajesh" userId="43dc2825-6106-411f-963a-a383a1d7d429" providerId="ADAL" clId="{A236E636-B115-44A7-8389-A460ECA142FB}" dt="2023-06-05T17:36:52.107" v="136" actId="1076"/>
          <ac:spMkLst>
            <pc:docMk/>
            <pc:sldMk cId="2869463670" sldId="290"/>
            <ac:spMk id="3" creationId="{71DA2796-63A2-45F2-BA29-24BA5E301F44}"/>
          </ac:spMkLst>
        </pc:spChg>
        <pc:spChg chg="mod">
          <ac:chgData name="Niranjana Rajesh" userId="43dc2825-6106-411f-963a-a383a1d7d429" providerId="ADAL" clId="{A236E636-B115-44A7-8389-A460ECA142FB}" dt="2023-06-05T18:48:04.199" v="1068" actId="20577"/>
          <ac:spMkLst>
            <pc:docMk/>
            <pc:sldMk cId="2869463670" sldId="290"/>
            <ac:spMk id="17" creationId="{AC1603E2-7225-D631-0A5D-4EF9652B2B0C}"/>
          </ac:spMkLst>
        </pc:spChg>
        <pc:spChg chg="mod">
          <ac:chgData name="Niranjana Rajesh" userId="43dc2825-6106-411f-963a-a383a1d7d429" providerId="ADAL" clId="{A236E636-B115-44A7-8389-A460ECA142FB}" dt="2023-06-05T18:15:26.494" v="429" actId="20577"/>
          <ac:spMkLst>
            <pc:docMk/>
            <pc:sldMk cId="2869463670" sldId="290"/>
            <ac:spMk id="20" creationId="{01A05EAE-9924-A096-762A-25AD3271E03A}"/>
          </ac:spMkLst>
        </pc:spChg>
        <pc:spChg chg="mod">
          <ac:chgData name="Niranjana Rajesh" userId="43dc2825-6106-411f-963a-a383a1d7d429" providerId="ADAL" clId="{A236E636-B115-44A7-8389-A460ECA142FB}" dt="2023-06-05T18:40:06.956" v="765" actId="20577"/>
          <ac:spMkLst>
            <pc:docMk/>
            <pc:sldMk cId="2869463670" sldId="290"/>
            <ac:spMk id="25" creationId="{DB19D8FE-B649-8745-B5DA-03209BD04D6F}"/>
          </ac:spMkLst>
        </pc:spChg>
        <pc:spChg chg="mod">
          <ac:chgData name="Niranjana Rajesh" userId="43dc2825-6106-411f-963a-a383a1d7d429" providerId="ADAL" clId="{A236E636-B115-44A7-8389-A460ECA142FB}" dt="2023-06-05T17:36:35.003" v="131" actId="2711"/>
          <ac:spMkLst>
            <pc:docMk/>
            <pc:sldMk cId="2869463670" sldId="290"/>
            <ac:spMk id="34" creationId="{724CFC56-AE5C-448B-9F72-F57F297529F4}"/>
          </ac:spMkLst>
        </pc:spChg>
        <pc:picChg chg="mod">
          <ac:chgData name="Niranjana Rajesh" userId="43dc2825-6106-411f-963a-a383a1d7d429" providerId="ADAL" clId="{A236E636-B115-44A7-8389-A460ECA142FB}" dt="2023-06-05T17:36:39.990" v="132" actId="1076"/>
          <ac:picMkLst>
            <pc:docMk/>
            <pc:sldMk cId="2869463670" sldId="290"/>
            <ac:picMk id="39" creationId="{9394F1C0-2AA8-429C-A5AB-6D6E9A636301}"/>
          </ac:picMkLst>
        </pc:picChg>
      </pc:sldChg>
      <pc:sldChg chg="addSp delSp modSp mod">
        <pc:chgData name="Niranjana Rajesh" userId="43dc2825-6106-411f-963a-a383a1d7d429" providerId="ADAL" clId="{A236E636-B115-44A7-8389-A460ECA142FB}" dt="2023-06-05T18:40:44.762" v="778" actId="20577"/>
        <pc:sldMkLst>
          <pc:docMk/>
          <pc:sldMk cId="1890534255" sldId="291"/>
        </pc:sldMkLst>
        <pc:spChg chg="mod">
          <ac:chgData name="Niranjana Rajesh" userId="43dc2825-6106-411f-963a-a383a1d7d429" providerId="ADAL" clId="{A236E636-B115-44A7-8389-A460ECA142FB}" dt="2023-06-05T18:14:16.702" v="412" actId="14100"/>
          <ac:spMkLst>
            <pc:docMk/>
            <pc:sldMk cId="1890534255" sldId="291"/>
            <ac:spMk id="3" creationId="{71DA2796-63A2-45F2-BA29-24BA5E301F44}"/>
          </ac:spMkLst>
        </pc:spChg>
        <pc:spChg chg="mod">
          <ac:chgData name="Niranjana Rajesh" userId="43dc2825-6106-411f-963a-a383a1d7d429" providerId="ADAL" clId="{A236E636-B115-44A7-8389-A460ECA142FB}" dt="2023-06-05T18:13:54.045" v="409" actId="2711"/>
          <ac:spMkLst>
            <pc:docMk/>
            <pc:sldMk cId="1890534255" sldId="291"/>
            <ac:spMk id="12" creationId="{E01AE70E-97E5-1343-D8F9-C314F1AB53B1}"/>
          </ac:spMkLst>
        </pc:spChg>
        <pc:spChg chg="mod">
          <ac:chgData name="Niranjana Rajesh" userId="43dc2825-6106-411f-963a-a383a1d7d429" providerId="ADAL" clId="{A236E636-B115-44A7-8389-A460ECA142FB}" dt="2023-06-05T17:51:16.352" v="196" actId="1076"/>
          <ac:spMkLst>
            <pc:docMk/>
            <pc:sldMk cId="1890534255" sldId="291"/>
            <ac:spMk id="17" creationId="{AC1603E2-7225-D631-0A5D-4EF9652B2B0C}"/>
          </ac:spMkLst>
        </pc:spChg>
        <pc:spChg chg="mod">
          <ac:chgData name="Niranjana Rajesh" userId="43dc2825-6106-411f-963a-a383a1d7d429" providerId="ADAL" clId="{A236E636-B115-44A7-8389-A460ECA142FB}" dt="2023-06-05T18:09:38.707" v="359" actId="1076"/>
          <ac:spMkLst>
            <pc:docMk/>
            <pc:sldMk cId="1890534255" sldId="291"/>
            <ac:spMk id="18" creationId="{2FE7C207-7979-7DDB-C5B5-65975D660D5C}"/>
          </ac:spMkLst>
        </pc:spChg>
        <pc:spChg chg="mod">
          <ac:chgData name="Niranjana Rajesh" userId="43dc2825-6106-411f-963a-a383a1d7d429" providerId="ADAL" clId="{A236E636-B115-44A7-8389-A460ECA142FB}" dt="2023-05-23T09:29:33.770" v="21" actId="20577"/>
          <ac:spMkLst>
            <pc:docMk/>
            <pc:sldMk cId="1890534255" sldId="291"/>
            <ac:spMk id="20" creationId="{01A05EAE-9924-A096-762A-25AD3271E03A}"/>
          </ac:spMkLst>
        </pc:spChg>
        <pc:spChg chg="mod">
          <ac:chgData name="Niranjana Rajesh" userId="43dc2825-6106-411f-963a-a383a1d7d429" providerId="ADAL" clId="{A236E636-B115-44A7-8389-A460ECA142FB}" dt="2023-06-05T18:14:57.046" v="421" actId="1076"/>
          <ac:spMkLst>
            <pc:docMk/>
            <pc:sldMk cId="1890534255" sldId="291"/>
            <ac:spMk id="21" creationId="{498A9358-E0FA-4A7F-A25F-F2AD1EBF700B}"/>
          </ac:spMkLst>
        </pc:spChg>
        <pc:spChg chg="mod">
          <ac:chgData name="Niranjana Rajesh" userId="43dc2825-6106-411f-963a-a383a1d7d429" providerId="ADAL" clId="{A236E636-B115-44A7-8389-A460ECA142FB}" dt="2023-06-05T18:14:40.713" v="417" actId="1076"/>
          <ac:spMkLst>
            <pc:docMk/>
            <pc:sldMk cId="1890534255" sldId="291"/>
            <ac:spMk id="22" creationId="{F7FCD70C-0A57-4A97-BF16-F040EB6740E7}"/>
          </ac:spMkLst>
        </pc:spChg>
        <pc:spChg chg="mod">
          <ac:chgData name="Niranjana Rajesh" userId="43dc2825-6106-411f-963a-a383a1d7d429" providerId="ADAL" clId="{A236E636-B115-44A7-8389-A460ECA142FB}" dt="2023-06-05T18:40:44.762" v="778" actId="20577"/>
          <ac:spMkLst>
            <pc:docMk/>
            <pc:sldMk cId="1890534255" sldId="291"/>
            <ac:spMk id="25" creationId="{DB19D8FE-B649-8745-B5DA-03209BD04D6F}"/>
          </ac:spMkLst>
        </pc:spChg>
        <pc:spChg chg="mod">
          <ac:chgData name="Niranjana Rajesh" userId="43dc2825-6106-411f-963a-a383a1d7d429" providerId="ADAL" clId="{A236E636-B115-44A7-8389-A460ECA142FB}" dt="2023-06-05T18:15:00.891" v="422" actId="1076"/>
          <ac:spMkLst>
            <pc:docMk/>
            <pc:sldMk cId="1890534255" sldId="291"/>
            <ac:spMk id="34" creationId="{724CFC56-AE5C-448B-9F72-F57F297529F4}"/>
          </ac:spMkLst>
        </pc:spChg>
        <pc:spChg chg="mod">
          <ac:chgData name="Niranjana Rajesh" userId="43dc2825-6106-411f-963a-a383a1d7d429" providerId="ADAL" clId="{A236E636-B115-44A7-8389-A460ECA142FB}" dt="2023-06-05T18:14:13.114" v="411" actId="14100"/>
          <ac:spMkLst>
            <pc:docMk/>
            <pc:sldMk cId="1890534255" sldId="291"/>
            <ac:spMk id="55" creationId="{BA552082-3F63-48DB-AC1C-68DC45C4EE39}"/>
          </ac:spMkLst>
        </pc:spChg>
        <pc:spChg chg="mod">
          <ac:chgData name="Niranjana Rajesh" userId="43dc2825-6106-411f-963a-a383a1d7d429" providerId="ADAL" clId="{A236E636-B115-44A7-8389-A460ECA142FB}" dt="2023-06-05T18:14:08.648" v="410" actId="14100"/>
          <ac:spMkLst>
            <pc:docMk/>
            <pc:sldMk cId="1890534255" sldId="291"/>
            <ac:spMk id="57" creationId="{BDE31366-1203-4C21-AE09-DE93127D462B}"/>
          </ac:spMkLst>
        </pc:spChg>
        <pc:grpChg chg="mod">
          <ac:chgData name="Niranjana Rajesh" userId="43dc2825-6106-411f-963a-a383a1d7d429" providerId="ADAL" clId="{A236E636-B115-44A7-8389-A460ECA142FB}" dt="2023-06-05T17:51:38.136" v="199" actId="14100"/>
          <ac:grpSpMkLst>
            <pc:docMk/>
            <pc:sldMk cId="1890534255" sldId="291"/>
            <ac:grpSpMk id="5" creationId="{36CF1129-B85E-9C0C-C8ED-3F2FBFCCA473}"/>
          </ac:grpSpMkLst>
        </pc:grpChg>
        <pc:grpChg chg="mod">
          <ac:chgData name="Niranjana Rajesh" userId="43dc2825-6106-411f-963a-a383a1d7d429" providerId="ADAL" clId="{A236E636-B115-44A7-8389-A460ECA142FB}" dt="2023-06-05T17:50:12.481" v="178" actId="1076"/>
          <ac:grpSpMkLst>
            <pc:docMk/>
            <pc:sldMk cId="1890534255" sldId="291"/>
            <ac:grpSpMk id="6" creationId="{0BBE8223-1DAF-3986-E1D2-CCDF9858901B}"/>
          </ac:grpSpMkLst>
        </pc:grpChg>
        <pc:grpChg chg="mod">
          <ac:chgData name="Niranjana Rajesh" userId="43dc2825-6106-411f-963a-a383a1d7d429" providerId="ADAL" clId="{A236E636-B115-44A7-8389-A460ECA142FB}" dt="2023-06-05T17:44:29.769" v="167" actId="1076"/>
          <ac:grpSpMkLst>
            <pc:docMk/>
            <pc:sldMk cId="1890534255" sldId="291"/>
            <ac:grpSpMk id="7" creationId="{CD4E98D6-0E11-D7A7-2381-DDB67E9256B0}"/>
          </ac:grpSpMkLst>
        </pc:grpChg>
        <pc:grpChg chg="mod">
          <ac:chgData name="Niranjana Rajesh" userId="43dc2825-6106-411f-963a-a383a1d7d429" providerId="ADAL" clId="{A236E636-B115-44A7-8389-A460ECA142FB}" dt="2023-06-05T18:11:51.815" v="360" actId="14826"/>
          <ac:grpSpMkLst>
            <pc:docMk/>
            <pc:sldMk cId="1890534255" sldId="291"/>
            <ac:grpSpMk id="16" creationId="{ED012F06-FF46-2696-EDD2-1B69DC496622}"/>
          </ac:grpSpMkLst>
        </pc:grpChg>
        <pc:grpChg chg="del">
          <ac:chgData name="Niranjana Rajesh" userId="43dc2825-6106-411f-963a-a383a1d7d429" providerId="ADAL" clId="{A236E636-B115-44A7-8389-A460ECA142FB}" dt="2023-06-05T17:42:57.800" v="150" actId="478"/>
          <ac:grpSpMkLst>
            <pc:docMk/>
            <pc:sldMk cId="1890534255" sldId="291"/>
            <ac:grpSpMk id="36" creationId="{D510A60A-AFFE-0B65-DF06-0228F0EC747F}"/>
          </ac:grpSpMkLst>
        </pc:grpChg>
        <pc:picChg chg="add mod">
          <ac:chgData name="Niranjana Rajesh" userId="43dc2825-6106-411f-963a-a383a1d7d429" providerId="ADAL" clId="{A236E636-B115-44A7-8389-A460ECA142FB}" dt="2023-06-05T18:14:23.663" v="414" actId="14100"/>
          <ac:picMkLst>
            <pc:docMk/>
            <pc:sldMk cId="1890534255" sldId="291"/>
            <ac:picMk id="8" creationId="{9A29A290-FBD8-43BA-9C5A-D75E4D0E1609}"/>
          </ac:picMkLst>
        </pc:picChg>
        <pc:picChg chg="add mod">
          <ac:chgData name="Niranjana Rajesh" userId="43dc2825-6106-411f-963a-a383a1d7d429" providerId="ADAL" clId="{A236E636-B115-44A7-8389-A460ECA142FB}" dt="2023-06-05T18:14:27.707" v="415" actId="14100"/>
          <ac:picMkLst>
            <pc:docMk/>
            <pc:sldMk cId="1890534255" sldId="291"/>
            <ac:picMk id="10" creationId="{63D49A8A-D5C3-E48D-F204-882AA6771CBC}"/>
          </ac:picMkLst>
        </pc:picChg>
        <pc:picChg chg="mod">
          <ac:chgData name="Niranjana Rajesh" userId="43dc2825-6106-411f-963a-a383a1d7d429" providerId="ADAL" clId="{A236E636-B115-44A7-8389-A460ECA142FB}" dt="2023-06-05T18:14:33.906" v="416" actId="14100"/>
          <ac:picMkLst>
            <pc:docMk/>
            <pc:sldMk cId="1890534255" sldId="291"/>
            <ac:picMk id="11" creationId="{8E89BE0E-C03B-3D48-0210-08452D43FC17}"/>
          </ac:picMkLst>
        </pc:picChg>
        <pc:picChg chg="mod">
          <ac:chgData name="Niranjana Rajesh" userId="43dc2825-6106-411f-963a-a383a1d7d429" providerId="ADAL" clId="{A236E636-B115-44A7-8389-A460ECA142FB}" dt="2023-06-05T18:12:54.085" v="373" actId="14100"/>
          <ac:picMkLst>
            <pc:docMk/>
            <pc:sldMk cId="1890534255" sldId="291"/>
            <ac:picMk id="15" creationId="{1823DEA9-DC2E-2912-368A-2770542CBF6F}"/>
          </ac:picMkLst>
        </pc:picChg>
        <pc:picChg chg="mod">
          <ac:chgData name="Niranjana Rajesh" userId="43dc2825-6106-411f-963a-a383a1d7d429" providerId="ADAL" clId="{A236E636-B115-44A7-8389-A460ECA142FB}" dt="2023-06-05T18:14:20.048" v="413" actId="14100"/>
          <ac:picMkLst>
            <pc:docMk/>
            <pc:sldMk cId="1890534255" sldId="291"/>
            <ac:picMk id="39" creationId="{9394F1C0-2AA8-429C-A5AB-6D6E9A636301}"/>
          </ac:picMkLst>
        </pc:picChg>
        <pc:picChg chg="del">
          <ac:chgData name="Niranjana Rajesh" userId="43dc2825-6106-411f-963a-a383a1d7d429" providerId="ADAL" clId="{A236E636-B115-44A7-8389-A460ECA142FB}" dt="2023-06-05T17:45:01.898" v="177" actId="478"/>
          <ac:picMkLst>
            <pc:docMk/>
            <pc:sldMk cId="1890534255" sldId="291"/>
            <ac:picMk id="56" creationId="{E35CC919-2CF2-4583-B490-FF7B098A11A5}"/>
          </ac:picMkLst>
        </pc:picChg>
        <pc:picChg chg="del mod">
          <ac:chgData name="Niranjana Rajesh" userId="43dc2825-6106-411f-963a-a383a1d7d429" providerId="ADAL" clId="{A236E636-B115-44A7-8389-A460ECA142FB}" dt="2023-06-05T17:44:11.019" v="160" actId="478"/>
          <ac:picMkLst>
            <pc:docMk/>
            <pc:sldMk cId="1890534255" sldId="291"/>
            <ac:picMk id="58" creationId="{ABF16F4C-A844-47E6-9F03-E939DD37D54C}"/>
          </ac:picMkLst>
        </pc:picChg>
        <pc:cxnChg chg="mod">
          <ac:chgData name="Niranjana Rajesh" userId="43dc2825-6106-411f-963a-a383a1d7d429" providerId="ADAL" clId="{A236E636-B115-44A7-8389-A460ECA142FB}" dt="2023-06-05T17:44:55.632" v="175" actId="14100"/>
          <ac:cxnSpMkLst>
            <pc:docMk/>
            <pc:sldMk cId="1890534255" sldId="291"/>
            <ac:cxnSpMk id="13" creationId="{5233BBF6-80B9-E37E-25FC-37CAB833B521}"/>
          </ac:cxnSpMkLst>
        </pc:cxnChg>
        <pc:cxnChg chg="del">
          <ac:chgData name="Niranjana Rajesh" userId="43dc2825-6106-411f-963a-a383a1d7d429" providerId="ADAL" clId="{A236E636-B115-44A7-8389-A460ECA142FB}" dt="2023-06-05T17:43:00.056" v="151" actId="478"/>
          <ac:cxnSpMkLst>
            <pc:docMk/>
            <pc:sldMk cId="1890534255" sldId="291"/>
            <ac:cxnSpMk id="14" creationId="{7EDE9661-4245-DD74-F6A2-DD7F25FB5E2B}"/>
          </ac:cxnSpMkLst>
        </pc:cxnChg>
        <pc:cxnChg chg="mod">
          <ac:chgData name="Niranjana Rajesh" userId="43dc2825-6106-411f-963a-a383a1d7d429" providerId="ADAL" clId="{A236E636-B115-44A7-8389-A460ECA142FB}" dt="2023-06-05T17:51:44.083" v="200" actId="1076"/>
          <ac:cxnSpMkLst>
            <pc:docMk/>
            <pc:sldMk cId="1890534255" sldId="291"/>
            <ac:cxnSpMk id="23" creationId="{EB2D47C8-B163-4B3B-BC37-222578A82313}"/>
          </ac:cxnSpMkLst>
        </pc:cxnChg>
        <pc:cxnChg chg="mod">
          <ac:chgData name="Niranjana Rajesh" userId="43dc2825-6106-411f-963a-a383a1d7d429" providerId="ADAL" clId="{A236E636-B115-44A7-8389-A460ECA142FB}" dt="2023-06-05T18:14:51.977" v="420" actId="14100"/>
          <ac:cxnSpMkLst>
            <pc:docMk/>
            <pc:sldMk cId="1890534255" sldId="291"/>
            <ac:cxnSpMk id="41" creationId="{F7EA56B0-54AB-54A6-296D-39845DF62FBF}"/>
          </ac:cxnSpMkLst>
        </pc:cxnChg>
      </pc:sldChg>
      <pc:sldChg chg="delSp modSp mod">
        <pc:chgData name="Niranjana Rajesh" userId="43dc2825-6106-411f-963a-a383a1d7d429" providerId="ADAL" clId="{A236E636-B115-44A7-8389-A460ECA142FB}" dt="2023-06-05T18:48:28.459" v="1085" actId="20577"/>
        <pc:sldMkLst>
          <pc:docMk/>
          <pc:sldMk cId="1138175935" sldId="292"/>
        </pc:sldMkLst>
        <pc:spChg chg="mod">
          <ac:chgData name="Niranjana Rajesh" userId="43dc2825-6106-411f-963a-a383a1d7d429" providerId="ADAL" clId="{A236E636-B115-44A7-8389-A460ECA142FB}" dt="2023-06-05T18:18:14.950" v="485" actId="1076"/>
          <ac:spMkLst>
            <pc:docMk/>
            <pc:sldMk cId="1138175935" sldId="292"/>
            <ac:spMk id="18" creationId="{8DE207BB-C5D4-4F24-B248-9E88BAE129BE}"/>
          </ac:spMkLst>
        </pc:spChg>
        <pc:spChg chg="mod">
          <ac:chgData name="Niranjana Rajesh" userId="43dc2825-6106-411f-963a-a383a1d7d429" providerId="ADAL" clId="{A236E636-B115-44A7-8389-A460ECA142FB}" dt="2023-06-05T18:48:28.459" v="1085" actId="20577"/>
          <ac:spMkLst>
            <pc:docMk/>
            <pc:sldMk cId="1138175935" sldId="292"/>
            <ac:spMk id="20" creationId="{45792D2E-6BEE-4838-AE92-3B32AE5DBD33}"/>
          </ac:spMkLst>
        </pc:spChg>
        <pc:spChg chg="mod">
          <ac:chgData name="Niranjana Rajesh" userId="43dc2825-6106-411f-963a-a383a1d7d429" providerId="ADAL" clId="{A236E636-B115-44A7-8389-A460ECA142FB}" dt="2023-06-05T18:16:48.189" v="464" actId="20577"/>
          <ac:spMkLst>
            <pc:docMk/>
            <pc:sldMk cId="1138175935" sldId="292"/>
            <ac:spMk id="25" creationId="{DD37C7B6-AE61-47FE-9F3C-2EB017FB748E}"/>
          </ac:spMkLst>
        </pc:spChg>
        <pc:picChg chg="del">
          <ac:chgData name="Niranjana Rajesh" userId="43dc2825-6106-411f-963a-a383a1d7d429" providerId="ADAL" clId="{A236E636-B115-44A7-8389-A460ECA142FB}" dt="2023-06-05T18:16:29.669" v="435" actId="478"/>
          <ac:picMkLst>
            <pc:docMk/>
            <pc:sldMk cId="1138175935" sldId="292"/>
            <ac:picMk id="15" creationId="{0BBB648C-A6B7-4204-A7F5-4EA26B8A9EDA}"/>
          </ac:picMkLst>
        </pc:picChg>
      </pc:sldChg>
      <pc:sldChg chg="del">
        <pc:chgData name="Niranjana Rajesh" userId="43dc2825-6106-411f-963a-a383a1d7d429" providerId="ADAL" clId="{A236E636-B115-44A7-8389-A460ECA142FB}" dt="2023-06-05T18:33:48.865" v="733" actId="2696"/>
        <pc:sldMkLst>
          <pc:docMk/>
          <pc:sldMk cId="1297534275" sldId="293"/>
        </pc:sldMkLst>
      </pc:sldChg>
      <pc:sldChg chg="modSp del mod ord">
        <pc:chgData name="Niranjana Rajesh" userId="43dc2825-6106-411f-963a-a383a1d7d429" providerId="ADAL" clId="{A236E636-B115-44A7-8389-A460ECA142FB}" dt="2023-06-15T09:34:23.112" v="1392" actId="2696"/>
        <pc:sldMkLst>
          <pc:docMk/>
          <pc:sldMk cId="60931730" sldId="294"/>
        </pc:sldMkLst>
        <pc:spChg chg="mod">
          <ac:chgData name="Niranjana Rajesh" userId="43dc2825-6106-411f-963a-a383a1d7d429" providerId="ADAL" clId="{A236E636-B115-44A7-8389-A460ECA142FB}" dt="2023-06-05T18:47:54.519" v="1067" actId="1076"/>
          <ac:spMkLst>
            <pc:docMk/>
            <pc:sldMk cId="60931730" sldId="294"/>
            <ac:spMk id="18" creationId="{2FE7C207-7979-7DDB-C5B5-65975D660D5C}"/>
          </ac:spMkLst>
        </pc:spChg>
        <pc:spChg chg="mod">
          <ac:chgData name="Niranjana Rajesh" userId="43dc2825-6106-411f-963a-a383a1d7d429" providerId="ADAL" clId="{A236E636-B115-44A7-8389-A460ECA142FB}" dt="2023-06-05T18:43:23.475" v="815" actId="20577"/>
          <ac:spMkLst>
            <pc:docMk/>
            <pc:sldMk cId="60931730" sldId="294"/>
            <ac:spMk id="20" creationId="{01A05EAE-9924-A096-762A-25AD3271E03A}"/>
          </ac:spMkLst>
        </pc:spChg>
        <pc:spChg chg="mod">
          <ac:chgData name="Niranjana Rajesh" userId="43dc2825-6106-411f-963a-a383a1d7d429" providerId="ADAL" clId="{A236E636-B115-44A7-8389-A460ECA142FB}" dt="2023-06-05T18:44:34.409" v="818"/>
          <ac:spMkLst>
            <pc:docMk/>
            <pc:sldMk cId="60931730" sldId="294"/>
            <ac:spMk id="25" creationId="{DB19D8FE-B649-8745-B5DA-03209BD04D6F}"/>
          </ac:spMkLst>
        </pc:spChg>
      </pc:sldChg>
      <pc:sldChg chg="modSp add del mod">
        <pc:chgData name="Niranjana Rajesh" userId="43dc2825-6106-411f-963a-a383a1d7d429" providerId="ADAL" clId="{A236E636-B115-44A7-8389-A460ECA142FB}" dt="2023-06-05T18:41:41.060" v="783" actId="2696"/>
        <pc:sldMkLst>
          <pc:docMk/>
          <pc:sldMk cId="395839664" sldId="295"/>
        </pc:sldMkLst>
        <pc:spChg chg="mod">
          <ac:chgData name="Niranjana Rajesh" userId="43dc2825-6106-411f-963a-a383a1d7d429" providerId="ADAL" clId="{A236E636-B115-44A7-8389-A460ECA142FB}" dt="2023-06-05T18:33:26.216" v="732" actId="20577"/>
          <ac:spMkLst>
            <pc:docMk/>
            <pc:sldMk cId="395839664" sldId="295"/>
            <ac:spMk id="18" creationId="{2FE7C207-7979-7DDB-C5B5-65975D660D5C}"/>
          </ac:spMkLst>
        </pc:spChg>
      </pc:sldChg>
      <pc:sldChg chg="new del ord">
        <pc:chgData name="Niranjana Rajesh" userId="43dc2825-6106-411f-963a-a383a1d7d429" providerId="ADAL" clId="{A236E636-B115-44A7-8389-A460ECA142FB}" dt="2023-06-05T18:24:35.600" v="651" actId="2696"/>
        <pc:sldMkLst>
          <pc:docMk/>
          <pc:sldMk cId="2145427682" sldId="295"/>
        </pc:sldMkLst>
      </pc:sldChg>
      <pc:sldChg chg="addSp delSp modSp add del mod ord">
        <pc:chgData name="Niranjana Rajesh" userId="43dc2825-6106-411f-963a-a383a1d7d429" providerId="ADAL" clId="{A236E636-B115-44A7-8389-A460ECA142FB}" dt="2023-06-07T13:22:50.188" v="1353" actId="2696"/>
        <pc:sldMkLst>
          <pc:docMk/>
          <pc:sldMk cId="3453555056" sldId="295"/>
        </pc:sldMkLst>
        <pc:spChg chg="add del mod">
          <ac:chgData name="Niranjana Rajesh" userId="43dc2825-6106-411f-963a-a383a1d7d429" providerId="ADAL" clId="{A236E636-B115-44A7-8389-A460ECA142FB}" dt="2023-06-05T19:15:46.880" v="1095"/>
          <ac:spMkLst>
            <pc:docMk/>
            <pc:sldMk cId="3453555056" sldId="295"/>
            <ac:spMk id="2" creationId="{9113C970-49BD-A0D9-5A9F-046BFEA4EBF9}"/>
          </ac:spMkLst>
        </pc:spChg>
        <pc:spChg chg="mod">
          <ac:chgData name="Niranjana Rajesh" userId="43dc2825-6106-411f-963a-a383a1d7d429" providerId="ADAL" clId="{A236E636-B115-44A7-8389-A460ECA142FB}" dt="2023-06-05T19:19:06.739" v="1235" actId="20577"/>
          <ac:spMkLst>
            <pc:docMk/>
            <pc:sldMk cId="3453555056" sldId="295"/>
            <ac:spMk id="18" creationId="{2FE7C207-7979-7DDB-C5B5-65975D660D5C}"/>
          </ac:spMkLst>
        </pc:spChg>
        <pc:spChg chg="del mod">
          <ac:chgData name="Niranjana Rajesh" userId="43dc2825-6106-411f-963a-a383a1d7d429" providerId="ADAL" clId="{A236E636-B115-44A7-8389-A460ECA142FB}" dt="2023-06-05T19:15:22.242" v="1091"/>
          <ac:spMkLst>
            <pc:docMk/>
            <pc:sldMk cId="3453555056" sldId="295"/>
            <ac:spMk id="20" creationId="{01A05EAE-9924-A096-762A-25AD3271E03A}"/>
          </ac:spMkLst>
        </pc:spChg>
        <pc:spChg chg="mod">
          <ac:chgData name="Niranjana Rajesh" userId="43dc2825-6106-411f-963a-a383a1d7d429" providerId="ADAL" clId="{A236E636-B115-44A7-8389-A460ECA142FB}" dt="2023-06-05T19:18:41.462" v="1187" actId="113"/>
          <ac:spMkLst>
            <pc:docMk/>
            <pc:sldMk cId="3453555056" sldId="295"/>
            <ac:spMk id="25" creationId="{DB19D8FE-B649-8745-B5DA-03209BD04D6F}"/>
          </ac:spMkLst>
        </pc:spChg>
        <pc:cxnChg chg="mod">
          <ac:chgData name="Niranjana Rajesh" userId="43dc2825-6106-411f-963a-a383a1d7d429" providerId="ADAL" clId="{A236E636-B115-44A7-8389-A460ECA142FB}" dt="2023-06-05T19:18:44.339" v="1188" actId="1076"/>
          <ac:cxnSpMkLst>
            <pc:docMk/>
            <pc:sldMk cId="3453555056" sldId="295"/>
            <ac:cxnSpMk id="19" creationId="{B319EF2E-A3E0-7DF1-ABA5-A7D1DBBD2944}"/>
          </ac:cxnSpMkLst>
        </pc:cxnChg>
      </pc:sldChg>
      <pc:sldChg chg="modSp mod">
        <pc:chgData name="Niranjana Rajesh" userId="43dc2825-6106-411f-963a-a383a1d7d429" providerId="ADAL" clId="{A236E636-B115-44A7-8389-A460ECA142FB}" dt="2023-06-06T08:56:02.204" v="1281" actId="20577"/>
        <pc:sldMkLst>
          <pc:docMk/>
          <pc:sldMk cId="515512297" sldId="296"/>
        </pc:sldMkLst>
        <pc:spChg chg="mod">
          <ac:chgData name="Niranjana Rajesh" userId="43dc2825-6106-411f-963a-a383a1d7d429" providerId="ADAL" clId="{A236E636-B115-44A7-8389-A460ECA142FB}" dt="2023-06-06T08:56:02.204" v="1281" actId="20577"/>
          <ac:spMkLst>
            <pc:docMk/>
            <pc:sldMk cId="515512297" sldId="296"/>
            <ac:spMk id="17" creationId="{AC1603E2-7225-D631-0A5D-4EF9652B2B0C}"/>
          </ac:spMkLst>
        </pc:spChg>
      </pc:sldChg>
      <pc:sldChg chg="new del">
        <pc:chgData name="Niranjana Rajesh" userId="43dc2825-6106-411f-963a-a383a1d7d429" providerId="ADAL" clId="{A236E636-B115-44A7-8389-A460ECA142FB}" dt="2023-06-05T18:24:30.374" v="650" actId="2696"/>
        <pc:sldMkLst>
          <pc:docMk/>
          <pc:sldMk cId="3057353127" sldId="296"/>
        </pc:sldMkLst>
      </pc:sldChg>
      <pc:sldChg chg="modSp add del mod ord">
        <pc:chgData name="Niranjana Rajesh" userId="43dc2825-6106-411f-963a-a383a1d7d429" providerId="ADAL" clId="{A236E636-B115-44A7-8389-A460ECA142FB}" dt="2023-06-09T07:56:59.967" v="1355" actId="2696"/>
        <pc:sldMkLst>
          <pc:docMk/>
          <pc:sldMk cId="1699254599" sldId="297"/>
        </pc:sldMkLst>
        <pc:spChg chg="mod">
          <ac:chgData name="Niranjana Rajesh" userId="43dc2825-6106-411f-963a-a383a1d7d429" providerId="ADAL" clId="{A236E636-B115-44A7-8389-A460ECA142FB}" dt="2023-06-06T08:54:24.681" v="1258" actId="20577"/>
          <ac:spMkLst>
            <pc:docMk/>
            <pc:sldMk cId="1699254599" sldId="297"/>
            <ac:spMk id="25" creationId="{DD37C7B6-AE61-47FE-9F3C-2EB017FB748E}"/>
          </ac:spMkLst>
        </pc:spChg>
      </pc:sldChg>
      <pc:sldChg chg="modSp mod">
        <pc:chgData name="Niranjana Rajesh" userId="43dc2825-6106-411f-963a-a383a1d7d429" providerId="ADAL" clId="{A236E636-B115-44A7-8389-A460ECA142FB}" dt="2023-06-19T13:09:00.550" v="1485" actId="113"/>
        <pc:sldMkLst>
          <pc:docMk/>
          <pc:sldMk cId="3955236344" sldId="298"/>
        </pc:sldMkLst>
        <pc:spChg chg="mod">
          <ac:chgData name="Niranjana Rajesh" userId="43dc2825-6106-411f-963a-a383a1d7d429" providerId="ADAL" clId="{A236E636-B115-44A7-8389-A460ECA142FB}" dt="2023-06-19T13:09:00.550" v="1485" actId="113"/>
          <ac:spMkLst>
            <pc:docMk/>
            <pc:sldMk cId="3955236344" sldId="298"/>
            <ac:spMk id="12" creationId="{E01AE70E-97E5-1343-D8F9-C314F1AB53B1}"/>
          </ac:spMkLst>
        </pc:spChg>
        <pc:spChg chg="mod">
          <ac:chgData name="Niranjana Rajesh" userId="43dc2825-6106-411f-963a-a383a1d7d429" providerId="ADAL" clId="{A236E636-B115-44A7-8389-A460ECA142FB}" dt="2023-06-19T13:08:57.460" v="1484" actId="113"/>
          <ac:spMkLst>
            <pc:docMk/>
            <pc:sldMk cId="3955236344" sldId="298"/>
            <ac:spMk id="21" creationId="{498A9358-E0FA-4A7F-A25F-F2AD1EBF700B}"/>
          </ac:spMkLst>
        </pc:spChg>
        <pc:spChg chg="mod">
          <ac:chgData name="Niranjana Rajesh" userId="43dc2825-6106-411f-963a-a383a1d7d429" providerId="ADAL" clId="{A236E636-B115-44A7-8389-A460ECA142FB}" dt="2023-06-19T13:08:49.327" v="1481" actId="113"/>
          <ac:spMkLst>
            <pc:docMk/>
            <pc:sldMk cId="3955236344" sldId="298"/>
            <ac:spMk id="32" creationId="{B989C678-0161-DF6C-E71E-AAA408FD48C5}"/>
          </ac:spMkLst>
        </pc:spChg>
        <pc:spChg chg="mod">
          <ac:chgData name="Niranjana Rajesh" userId="43dc2825-6106-411f-963a-a383a1d7d429" providerId="ADAL" clId="{A236E636-B115-44A7-8389-A460ECA142FB}" dt="2023-06-19T13:08:52.711" v="1482" actId="113"/>
          <ac:spMkLst>
            <pc:docMk/>
            <pc:sldMk cId="3955236344" sldId="298"/>
            <ac:spMk id="34" creationId="{724CFC56-AE5C-448B-9F72-F57F297529F4}"/>
          </ac:spMkLst>
        </pc:spChg>
      </pc:sldChg>
      <pc:sldChg chg="modSp mod ord">
        <pc:chgData name="Niranjana Rajesh" userId="43dc2825-6106-411f-963a-a383a1d7d429" providerId="ADAL" clId="{A236E636-B115-44A7-8389-A460ECA142FB}" dt="2023-06-09T07:58:22.698" v="1361" actId="14100"/>
        <pc:sldMkLst>
          <pc:docMk/>
          <pc:sldMk cId="257024696" sldId="299"/>
        </pc:sldMkLst>
        <pc:spChg chg="mod">
          <ac:chgData name="Niranjana Rajesh" userId="43dc2825-6106-411f-963a-a383a1d7d429" providerId="ADAL" clId="{A236E636-B115-44A7-8389-A460ECA142FB}" dt="2023-06-09T07:58:22.698" v="1361" actId="14100"/>
          <ac:spMkLst>
            <pc:docMk/>
            <pc:sldMk cId="257024696" sldId="299"/>
            <ac:spMk id="3" creationId="{74D38EA8-9FE9-9047-3397-C82BB1BC2151}"/>
          </ac:spMkLst>
        </pc:spChg>
      </pc:sldChg>
      <pc:sldChg chg="del">
        <pc:chgData name="Niranjana Rajesh" userId="43dc2825-6106-411f-963a-a383a1d7d429" providerId="ADAL" clId="{A236E636-B115-44A7-8389-A460ECA142FB}" dt="2023-06-18T07:06:28.180" v="1428" actId="2696"/>
        <pc:sldMkLst>
          <pc:docMk/>
          <pc:sldMk cId="4207918131" sldId="372"/>
        </pc:sldMkLst>
      </pc:sldChg>
      <pc:sldChg chg="modSp mod">
        <pc:chgData name="Niranjana Rajesh" userId="43dc2825-6106-411f-963a-a383a1d7d429" providerId="ADAL" clId="{A236E636-B115-44A7-8389-A460ECA142FB}" dt="2023-06-09T07:56:31.674" v="1354" actId="27636"/>
        <pc:sldMkLst>
          <pc:docMk/>
          <pc:sldMk cId="1548059795" sldId="439"/>
        </pc:sldMkLst>
        <pc:spChg chg="mod">
          <ac:chgData name="Niranjana Rajesh" userId="43dc2825-6106-411f-963a-a383a1d7d429" providerId="ADAL" clId="{A236E636-B115-44A7-8389-A460ECA142FB}" dt="2023-06-09T07:56:31.674" v="1354" actId="27636"/>
          <ac:spMkLst>
            <pc:docMk/>
            <pc:sldMk cId="1548059795" sldId="439"/>
            <ac:spMk id="5" creationId="{1A0E7BFD-907F-9A78-0B6A-FA9849D9E0F2}"/>
          </ac:spMkLst>
        </pc:spChg>
      </pc:sldChg>
      <pc:sldChg chg="del">
        <pc:chgData name="Niranjana Rajesh" userId="43dc2825-6106-411f-963a-a383a1d7d429" providerId="ADAL" clId="{A236E636-B115-44A7-8389-A460ECA142FB}" dt="2023-06-18T07:06:42.935" v="1432" actId="2696"/>
        <pc:sldMkLst>
          <pc:docMk/>
          <pc:sldMk cId="4096731119" sldId="773"/>
        </pc:sldMkLst>
      </pc:sldChg>
      <pc:sldChg chg="del">
        <pc:chgData name="Niranjana Rajesh" userId="43dc2825-6106-411f-963a-a383a1d7d429" providerId="ADAL" clId="{A236E636-B115-44A7-8389-A460ECA142FB}" dt="2023-06-18T07:06:32.753" v="1429" actId="2696"/>
        <pc:sldMkLst>
          <pc:docMk/>
          <pc:sldMk cId="4128185087" sldId="829"/>
        </pc:sldMkLst>
      </pc:sldChg>
      <pc:sldChg chg="del">
        <pc:chgData name="Niranjana Rajesh" userId="43dc2825-6106-411f-963a-a383a1d7d429" providerId="ADAL" clId="{A236E636-B115-44A7-8389-A460ECA142FB}" dt="2023-06-18T07:06:36.288" v="1430" actId="2696"/>
        <pc:sldMkLst>
          <pc:docMk/>
          <pc:sldMk cId="3058608377" sldId="836"/>
        </pc:sldMkLst>
      </pc:sldChg>
      <pc:sldChg chg="del">
        <pc:chgData name="Niranjana Rajesh" userId="43dc2825-6106-411f-963a-a383a1d7d429" providerId="ADAL" clId="{A236E636-B115-44A7-8389-A460ECA142FB}" dt="2023-06-18T07:06:39.681" v="1431" actId="2696"/>
        <pc:sldMkLst>
          <pc:docMk/>
          <pc:sldMk cId="436742010" sldId="837"/>
        </pc:sldMkLst>
      </pc:sldChg>
      <pc:sldChg chg="addSp delSp modSp mod">
        <pc:chgData name="Niranjana Rajesh" userId="43dc2825-6106-411f-963a-a383a1d7d429" providerId="ADAL" clId="{A236E636-B115-44A7-8389-A460ECA142FB}" dt="2023-06-20T15:19:46.551" v="1655" actId="1076"/>
        <pc:sldMkLst>
          <pc:docMk/>
          <pc:sldMk cId="2930965391" sldId="2147374850"/>
        </pc:sldMkLst>
        <pc:spChg chg="mod">
          <ac:chgData name="Niranjana Rajesh" userId="43dc2825-6106-411f-963a-a383a1d7d429" providerId="ADAL" clId="{A236E636-B115-44A7-8389-A460ECA142FB}" dt="2023-06-20T10:24:33.980" v="1566" actId="20577"/>
          <ac:spMkLst>
            <pc:docMk/>
            <pc:sldMk cId="2930965391" sldId="2147374850"/>
            <ac:spMk id="4" creationId="{1C64243D-9252-FEF9-B5C7-EABDCD444607}"/>
          </ac:spMkLst>
        </pc:spChg>
        <pc:picChg chg="add del mod">
          <ac:chgData name="Niranjana Rajesh" userId="43dc2825-6106-411f-963a-a383a1d7d429" providerId="ADAL" clId="{A236E636-B115-44A7-8389-A460ECA142FB}" dt="2023-06-20T10:26:29.518" v="1567" actId="478"/>
          <ac:picMkLst>
            <pc:docMk/>
            <pc:sldMk cId="2930965391" sldId="2147374850"/>
            <ac:picMk id="6" creationId="{5E470809-9BC2-2623-B2C3-02EF6CEA114A}"/>
          </ac:picMkLst>
        </pc:picChg>
        <pc:picChg chg="add del mod">
          <ac:chgData name="Niranjana Rajesh" userId="43dc2825-6106-411f-963a-a383a1d7d429" providerId="ADAL" clId="{A236E636-B115-44A7-8389-A460ECA142FB}" dt="2023-06-15T15:54:37.563" v="1424" actId="21"/>
          <ac:picMkLst>
            <pc:docMk/>
            <pc:sldMk cId="2930965391" sldId="2147374850"/>
            <ac:picMk id="6" creationId="{CC172AF7-0330-C2F8-2CC7-838767C35B35}"/>
          </ac:picMkLst>
        </pc:picChg>
        <pc:picChg chg="add del mod">
          <ac:chgData name="Niranjana Rajesh" userId="43dc2825-6106-411f-963a-a383a1d7d429" providerId="ADAL" clId="{A236E636-B115-44A7-8389-A460ECA142FB}" dt="2023-06-20T15:15:31.842" v="1646" actId="478"/>
          <ac:picMkLst>
            <pc:docMk/>
            <pc:sldMk cId="2930965391" sldId="2147374850"/>
            <ac:picMk id="8" creationId="{37AA7D28-8DF3-1328-CBA1-18901210065F}"/>
          </ac:picMkLst>
        </pc:picChg>
        <pc:picChg chg="add mod">
          <ac:chgData name="Niranjana Rajesh" userId="43dc2825-6106-411f-963a-a383a1d7d429" providerId="ADAL" clId="{A236E636-B115-44A7-8389-A460ECA142FB}" dt="2023-06-20T15:19:46.551" v="1655" actId="1076"/>
          <ac:picMkLst>
            <pc:docMk/>
            <pc:sldMk cId="2930965391" sldId="2147374850"/>
            <ac:picMk id="10" creationId="{08F465F3-9A8C-C433-A045-A7D3D0F0F85D}"/>
          </ac:picMkLst>
        </pc:picChg>
      </pc:sldChg>
      <pc:sldChg chg="modSp add mod">
        <pc:chgData name="Niranjana Rajesh" userId="43dc2825-6106-411f-963a-a383a1d7d429" providerId="ADAL" clId="{A236E636-B115-44A7-8389-A460ECA142FB}" dt="2023-06-19T13:09:57.657" v="1509" actId="14100"/>
        <pc:sldMkLst>
          <pc:docMk/>
          <pc:sldMk cId="2131334492" sldId="2147374853"/>
        </pc:sldMkLst>
        <pc:spChg chg="mod">
          <ac:chgData name="Niranjana Rajesh" userId="43dc2825-6106-411f-963a-a383a1d7d429" providerId="ADAL" clId="{A236E636-B115-44A7-8389-A460ECA142FB}" dt="2023-06-19T13:09:57.657" v="1509" actId="14100"/>
          <ac:spMkLst>
            <pc:docMk/>
            <pc:sldMk cId="2131334492" sldId="2147374853"/>
            <ac:spMk id="3" creationId="{74D38EA8-9FE9-9047-3397-C82BB1BC2151}"/>
          </ac:spMkLst>
        </pc:spChg>
      </pc:sldChg>
      <pc:sldChg chg="delSp modSp add mod">
        <pc:chgData name="Niranjana Rajesh" userId="43dc2825-6106-411f-963a-a383a1d7d429" providerId="ADAL" clId="{A236E636-B115-44A7-8389-A460ECA142FB}" dt="2023-06-13T17:34:49.482" v="1390"/>
        <pc:sldMkLst>
          <pc:docMk/>
          <pc:sldMk cId="2034496485" sldId="2147374854"/>
        </pc:sldMkLst>
        <pc:spChg chg="del mod">
          <ac:chgData name="Niranjana Rajesh" userId="43dc2825-6106-411f-963a-a383a1d7d429" providerId="ADAL" clId="{A236E636-B115-44A7-8389-A460ECA142FB}" dt="2023-06-13T17:34:49.482" v="1390"/>
          <ac:spMkLst>
            <pc:docMk/>
            <pc:sldMk cId="2034496485" sldId="2147374854"/>
            <ac:spMk id="17" creationId="{AC1603E2-7225-D631-0A5D-4EF9652B2B0C}"/>
          </ac:spMkLst>
        </pc:spChg>
        <pc:spChg chg="del mod">
          <ac:chgData name="Niranjana Rajesh" userId="43dc2825-6106-411f-963a-a383a1d7d429" providerId="ADAL" clId="{A236E636-B115-44A7-8389-A460ECA142FB}" dt="2023-06-13T17:34:49.479" v="1388"/>
          <ac:spMkLst>
            <pc:docMk/>
            <pc:sldMk cId="2034496485" sldId="2147374854"/>
            <ac:spMk id="34" creationId="{724CFC56-AE5C-448B-9F72-F57F297529F4}"/>
          </ac:spMkLst>
        </pc:spChg>
        <pc:grpChg chg="del">
          <ac:chgData name="Niranjana Rajesh" userId="43dc2825-6106-411f-963a-a383a1d7d429" providerId="ADAL" clId="{A236E636-B115-44A7-8389-A460ECA142FB}" dt="2023-06-13T17:34:38.602" v="1383" actId="478"/>
          <ac:grpSpMkLst>
            <pc:docMk/>
            <pc:sldMk cId="2034496485" sldId="2147374854"/>
            <ac:grpSpMk id="2" creationId="{15EBB19C-1B0E-907B-2647-2686565B299C}"/>
          </ac:grpSpMkLst>
        </pc:grpChg>
      </pc:sldChg>
      <pc:sldChg chg="modSp mod">
        <pc:chgData name="Niranjana Rajesh" userId="43dc2825-6106-411f-963a-a383a1d7d429" providerId="ADAL" clId="{A236E636-B115-44A7-8389-A460ECA142FB}" dt="2023-06-15T09:34:40.113" v="1393" actId="1076"/>
        <pc:sldMkLst>
          <pc:docMk/>
          <pc:sldMk cId="3951829472" sldId="2147374860"/>
        </pc:sldMkLst>
        <pc:picChg chg="mod">
          <ac:chgData name="Niranjana Rajesh" userId="43dc2825-6106-411f-963a-a383a1d7d429" providerId="ADAL" clId="{A236E636-B115-44A7-8389-A460ECA142FB}" dt="2023-06-15T09:34:40.113" v="1393" actId="1076"/>
          <ac:picMkLst>
            <pc:docMk/>
            <pc:sldMk cId="3951829472" sldId="2147374860"/>
            <ac:picMk id="2" creationId="{01D45A11-6935-9FDC-A2DE-A9D29A2A015E}"/>
          </ac:picMkLst>
        </pc:picChg>
      </pc:sldChg>
      <pc:sldChg chg="delSp modSp mod">
        <pc:chgData name="Niranjana Rajesh" userId="43dc2825-6106-411f-963a-a383a1d7d429" providerId="ADAL" clId="{A236E636-B115-44A7-8389-A460ECA142FB}" dt="2023-06-18T07:08:05.025" v="1438"/>
        <pc:sldMkLst>
          <pc:docMk/>
          <pc:sldMk cId="4248978637" sldId="2147374863"/>
        </pc:sldMkLst>
        <pc:spChg chg="del mod">
          <ac:chgData name="Niranjana Rajesh" userId="43dc2825-6106-411f-963a-a383a1d7d429" providerId="ADAL" clId="{A236E636-B115-44A7-8389-A460ECA142FB}" dt="2023-06-18T07:08:05.025" v="1438"/>
          <ac:spMkLst>
            <pc:docMk/>
            <pc:sldMk cId="4248978637" sldId="2147374863"/>
            <ac:spMk id="2" creationId="{026E42E7-79D2-380D-6DA1-2D74885C967E}"/>
          </ac:spMkLst>
        </pc:spChg>
      </pc:sldChg>
      <pc:sldChg chg="add del ord">
        <pc:chgData name="Niranjana Rajesh" userId="43dc2825-6106-411f-963a-a383a1d7d429" providerId="ADAL" clId="{A236E636-B115-44A7-8389-A460ECA142FB}" dt="2023-06-19T13:00:47.987" v="1462" actId="2696"/>
        <pc:sldMkLst>
          <pc:docMk/>
          <pc:sldMk cId="961570874" sldId="2147374865"/>
        </pc:sldMkLst>
      </pc:sldChg>
      <pc:sldChg chg="add del ord">
        <pc:chgData name="Niranjana Rajesh" userId="43dc2825-6106-411f-963a-a383a1d7d429" providerId="ADAL" clId="{A236E636-B115-44A7-8389-A460ECA142FB}" dt="2023-06-19T10:51:44.458" v="1446" actId="2696"/>
        <pc:sldMkLst>
          <pc:docMk/>
          <pc:sldMk cId="1290347829" sldId="2147374866"/>
        </pc:sldMkLst>
      </pc:sldChg>
      <pc:sldChg chg="addSp modSp new del mod ord">
        <pc:chgData name="Niranjana Rajesh" userId="43dc2825-6106-411f-963a-a383a1d7d429" providerId="ADAL" clId="{A236E636-B115-44A7-8389-A460ECA142FB}" dt="2023-06-19T14:41:30.687" v="1519" actId="2696"/>
        <pc:sldMkLst>
          <pc:docMk/>
          <pc:sldMk cId="4281553489" sldId="2147374868"/>
        </pc:sldMkLst>
        <pc:picChg chg="add mod">
          <ac:chgData name="Niranjana Rajesh" userId="43dc2825-6106-411f-963a-a383a1d7d429" providerId="ADAL" clId="{A236E636-B115-44A7-8389-A460ECA142FB}" dt="2023-06-19T10:51:34.969" v="1445" actId="14100"/>
          <ac:picMkLst>
            <pc:docMk/>
            <pc:sldMk cId="4281553489" sldId="2147374868"/>
            <ac:picMk id="5" creationId="{EDD2ECE8-B8F6-25EC-CA6F-93DE92818599}"/>
          </ac:picMkLst>
        </pc:picChg>
      </pc:sldChg>
      <pc:sldChg chg="addSp delSp modSp new mod ord">
        <pc:chgData name="Niranjana Rajesh" userId="43dc2825-6106-411f-963a-a383a1d7d429" providerId="ADAL" clId="{A236E636-B115-44A7-8389-A460ECA142FB}" dt="2023-06-19T14:44:10.791" v="1549" actId="1076"/>
        <pc:sldMkLst>
          <pc:docMk/>
          <pc:sldMk cId="1085856887" sldId="2147374869"/>
        </pc:sldMkLst>
        <pc:picChg chg="add del mod">
          <ac:chgData name="Niranjana Rajesh" userId="43dc2825-6106-411f-963a-a383a1d7d429" providerId="ADAL" clId="{A236E636-B115-44A7-8389-A460ECA142FB}" dt="2023-06-19T14:42:26.891" v="1535" actId="478"/>
          <ac:picMkLst>
            <pc:docMk/>
            <pc:sldMk cId="1085856887" sldId="2147374869"/>
            <ac:picMk id="5" creationId="{03B7BEE1-8200-B04A-FD53-063A00CFF118}"/>
          </ac:picMkLst>
        </pc:picChg>
        <pc:picChg chg="add del mod">
          <ac:chgData name="Niranjana Rajesh" userId="43dc2825-6106-411f-963a-a383a1d7d429" providerId="ADAL" clId="{A236E636-B115-44A7-8389-A460ECA142FB}" dt="2023-06-19T14:42:48.027" v="1539" actId="478"/>
          <ac:picMkLst>
            <pc:docMk/>
            <pc:sldMk cId="1085856887" sldId="2147374869"/>
            <ac:picMk id="7" creationId="{F812F466-23A5-13E1-3270-306FA4490B56}"/>
          </ac:picMkLst>
        </pc:picChg>
        <pc:picChg chg="add del mod">
          <ac:chgData name="Niranjana Rajesh" userId="43dc2825-6106-411f-963a-a383a1d7d429" providerId="ADAL" clId="{A236E636-B115-44A7-8389-A460ECA142FB}" dt="2023-06-19T14:43:01.043" v="1543" actId="478"/>
          <ac:picMkLst>
            <pc:docMk/>
            <pc:sldMk cId="1085856887" sldId="2147374869"/>
            <ac:picMk id="9" creationId="{9550669E-236E-086B-A85A-65D28EE6723E}"/>
          </ac:picMkLst>
        </pc:picChg>
        <pc:picChg chg="add mod">
          <ac:chgData name="Niranjana Rajesh" userId="43dc2825-6106-411f-963a-a383a1d7d429" providerId="ADAL" clId="{A236E636-B115-44A7-8389-A460ECA142FB}" dt="2023-06-19T14:44:10.791" v="1549" actId="1076"/>
          <ac:picMkLst>
            <pc:docMk/>
            <pc:sldMk cId="1085856887" sldId="2147374869"/>
            <ac:picMk id="11" creationId="{A8469293-EDBE-86E4-1AD8-6B0743E4F38C}"/>
          </ac:picMkLst>
        </pc:picChg>
      </pc:sldChg>
      <pc:sldChg chg="add ord">
        <pc:chgData name="Niranjana Rajesh" userId="43dc2825-6106-411f-963a-a383a1d7d429" providerId="ADAL" clId="{A236E636-B115-44A7-8389-A460ECA142FB}" dt="2023-06-19T13:00:43.732" v="1461"/>
        <pc:sldMkLst>
          <pc:docMk/>
          <pc:sldMk cId="4059039215" sldId="2147374870"/>
        </pc:sldMkLst>
      </pc:sldChg>
      <pc:sldChg chg="addSp delSp modSp new mod ord">
        <pc:chgData name="Niranjana Rajesh" userId="43dc2825-6106-411f-963a-a383a1d7d429" providerId="ADAL" clId="{A236E636-B115-44A7-8389-A460ECA142FB}" dt="2023-06-19T14:42:14.294" v="1534" actId="1076"/>
        <pc:sldMkLst>
          <pc:docMk/>
          <pc:sldMk cId="1283222958" sldId="2147374871"/>
        </pc:sldMkLst>
        <pc:picChg chg="add del mod">
          <ac:chgData name="Niranjana Rajesh" userId="43dc2825-6106-411f-963a-a383a1d7d429" providerId="ADAL" clId="{A236E636-B115-44A7-8389-A460ECA142FB}" dt="2023-06-19T14:41:51.868" v="1525" actId="478"/>
          <ac:picMkLst>
            <pc:docMk/>
            <pc:sldMk cId="1283222958" sldId="2147374871"/>
            <ac:picMk id="3" creationId="{11255588-C6A7-C48D-5CC8-C9A5CE62BD5F}"/>
          </ac:picMkLst>
        </pc:picChg>
        <pc:picChg chg="add mod">
          <ac:chgData name="Niranjana Rajesh" userId="43dc2825-6106-411f-963a-a383a1d7d429" providerId="ADAL" clId="{A236E636-B115-44A7-8389-A460ECA142FB}" dt="2023-06-19T14:42:14.294" v="1534" actId="1076"/>
          <ac:picMkLst>
            <pc:docMk/>
            <pc:sldMk cId="1283222958" sldId="2147374871"/>
            <ac:picMk id="5" creationId="{2F05D35B-50F0-8A28-5154-B53C362FDE7C}"/>
          </ac:picMkLst>
        </pc:picChg>
      </pc:sldChg>
      <pc:sldChg chg="addSp modSp new mod">
        <pc:chgData name="Niranjana Rajesh" userId="43dc2825-6106-411f-963a-a383a1d7d429" providerId="ADAL" clId="{A236E636-B115-44A7-8389-A460ECA142FB}" dt="2023-06-19T14:41:24.656" v="1518" actId="1076"/>
        <pc:sldMkLst>
          <pc:docMk/>
          <pc:sldMk cId="1843055419" sldId="2147374872"/>
        </pc:sldMkLst>
        <pc:picChg chg="add mod">
          <ac:chgData name="Niranjana Rajesh" userId="43dc2825-6106-411f-963a-a383a1d7d429" providerId="ADAL" clId="{A236E636-B115-44A7-8389-A460ECA142FB}" dt="2023-06-19T14:41:24.656" v="1518" actId="1076"/>
          <ac:picMkLst>
            <pc:docMk/>
            <pc:sldMk cId="1843055419" sldId="2147374872"/>
            <ac:picMk id="3" creationId="{3E0F4CF2-E60B-2A99-7C92-12826DA39424}"/>
          </ac:picMkLst>
        </pc:picChg>
      </pc:sldChg>
      <pc:sldChg chg="add del">
        <pc:chgData name="Niranjana Rajesh" userId="43dc2825-6106-411f-963a-a383a1d7d429" providerId="ADAL" clId="{A236E636-B115-44A7-8389-A460ECA142FB}" dt="2023-06-19T13:10:14.918" v="1511" actId="2696"/>
        <pc:sldMkLst>
          <pc:docMk/>
          <pc:sldMk cId="3412385974" sldId="2147374872"/>
        </pc:sldMkLst>
      </pc:sldChg>
      <pc:sldChg chg="modSp add mod ord">
        <pc:chgData name="Niranjana Rajesh" userId="43dc2825-6106-411f-963a-a383a1d7d429" providerId="ADAL" clId="{A236E636-B115-44A7-8389-A460ECA142FB}" dt="2023-06-20T16:00:24.610" v="1769" actId="20577"/>
        <pc:sldMkLst>
          <pc:docMk/>
          <pc:sldMk cId="802007085" sldId="2147374873"/>
        </pc:sldMkLst>
        <pc:spChg chg="mod">
          <ac:chgData name="Niranjana Rajesh" userId="43dc2825-6106-411f-963a-a383a1d7d429" providerId="ADAL" clId="{A236E636-B115-44A7-8389-A460ECA142FB}" dt="2023-06-20T16:00:24.610" v="1769" actId="20577"/>
          <ac:spMkLst>
            <pc:docMk/>
            <pc:sldMk cId="802007085" sldId="2147374873"/>
            <ac:spMk id="3" creationId="{74D38EA8-9FE9-9047-3397-C82BB1BC2151}"/>
          </ac:spMkLst>
        </pc:spChg>
      </pc:sldChg>
      <pc:sldChg chg="new del ord">
        <pc:chgData name="Niranjana Rajesh" userId="43dc2825-6106-411f-963a-a383a1d7d429" providerId="ADAL" clId="{A236E636-B115-44A7-8389-A460ECA142FB}" dt="2023-06-20T15:01:40.721" v="1582" actId="2696"/>
        <pc:sldMkLst>
          <pc:docMk/>
          <pc:sldMk cId="2438016756" sldId="2147374873"/>
        </pc:sldMkLst>
      </pc:sldChg>
      <pc:sldChg chg="new del">
        <pc:chgData name="Niranjana Rajesh" userId="43dc2825-6106-411f-963a-a383a1d7d429" providerId="ADAL" clId="{A236E636-B115-44A7-8389-A460ECA142FB}" dt="2023-06-20T15:01:43.564" v="1583" actId="2696"/>
        <pc:sldMkLst>
          <pc:docMk/>
          <pc:sldMk cId="2564976753" sldId="2147374874"/>
        </pc:sldMkLst>
      </pc:sldChg>
      <pc:sldMasterChg chg="del delSldLayout">
        <pc:chgData name="Niranjana Rajesh" userId="43dc2825-6106-411f-963a-a383a1d7d429" providerId="ADAL" clId="{A236E636-B115-44A7-8389-A460ECA142FB}" dt="2023-06-18T07:06:42.935" v="1432" actId="2696"/>
        <pc:sldMasterMkLst>
          <pc:docMk/>
          <pc:sldMasterMk cId="4007860117" sldId="2147483713"/>
        </pc:sldMasterMkLst>
        <pc:sldLayoutChg chg="del">
          <pc:chgData name="Niranjana Rajesh" userId="43dc2825-6106-411f-963a-a383a1d7d429" providerId="ADAL" clId="{A236E636-B115-44A7-8389-A460ECA142FB}" dt="2023-06-18T07:06:42.935" v="1432" actId="2696"/>
          <pc:sldLayoutMkLst>
            <pc:docMk/>
            <pc:sldMasterMk cId="4007860117" sldId="2147483713"/>
            <pc:sldLayoutMk cId="961252515" sldId="2147483714"/>
          </pc:sldLayoutMkLst>
        </pc:sldLayoutChg>
        <pc:sldLayoutChg chg="del">
          <pc:chgData name="Niranjana Rajesh" userId="43dc2825-6106-411f-963a-a383a1d7d429" providerId="ADAL" clId="{A236E636-B115-44A7-8389-A460ECA142FB}" dt="2023-06-18T07:06:42.935" v="1432" actId="2696"/>
          <pc:sldLayoutMkLst>
            <pc:docMk/>
            <pc:sldMasterMk cId="4007860117" sldId="2147483713"/>
            <pc:sldLayoutMk cId="2537210888" sldId="2147483715"/>
          </pc:sldLayoutMkLst>
        </pc:sldLayoutChg>
        <pc:sldLayoutChg chg="del">
          <pc:chgData name="Niranjana Rajesh" userId="43dc2825-6106-411f-963a-a383a1d7d429" providerId="ADAL" clId="{A236E636-B115-44A7-8389-A460ECA142FB}" dt="2023-06-18T07:06:42.935" v="1432" actId="2696"/>
          <pc:sldLayoutMkLst>
            <pc:docMk/>
            <pc:sldMasterMk cId="4007860117" sldId="2147483713"/>
            <pc:sldLayoutMk cId="2533916985" sldId="2147483716"/>
          </pc:sldLayoutMkLst>
        </pc:sldLayoutChg>
        <pc:sldLayoutChg chg="del">
          <pc:chgData name="Niranjana Rajesh" userId="43dc2825-6106-411f-963a-a383a1d7d429" providerId="ADAL" clId="{A236E636-B115-44A7-8389-A460ECA142FB}" dt="2023-06-18T07:06:42.935" v="1432" actId="2696"/>
          <pc:sldLayoutMkLst>
            <pc:docMk/>
            <pc:sldMasterMk cId="4007860117" sldId="2147483713"/>
            <pc:sldLayoutMk cId="3578411074" sldId="2147483717"/>
          </pc:sldLayoutMkLst>
        </pc:sldLayoutChg>
        <pc:sldLayoutChg chg="del">
          <pc:chgData name="Niranjana Rajesh" userId="43dc2825-6106-411f-963a-a383a1d7d429" providerId="ADAL" clId="{A236E636-B115-44A7-8389-A460ECA142FB}" dt="2023-06-18T07:06:42.935" v="1432" actId="2696"/>
          <pc:sldLayoutMkLst>
            <pc:docMk/>
            <pc:sldMasterMk cId="4007860117" sldId="2147483713"/>
            <pc:sldLayoutMk cId="1667858501" sldId="2147483718"/>
          </pc:sldLayoutMkLst>
        </pc:sldLayoutChg>
        <pc:sldLayoutChg chg="del">
          <pc:chgData name="Niranjana Rajesh" userId="43dc2825-6106-411f-963a-a383a1d7d429" providerId="ADAL" clId="{A236E636-B115-44A7-8389-A460ECA142FB}" dt="2023-06-18T07:06:42.935" v="1432" actId="2696"/>
          <pc:sldLayoutMkLst>
            <pc:docMk/>
            <pc:sldMasterMk cId="4007860117" sldId="2147483713"/>
            <pc:sldLayoutMk cId="2636693155" sldId="2147483719"/>
          </pc:sldLayoutMkLst>
        </pc:sldLayoutChg>
        <pc:sldLayoutChg chg="del">
          <pc:chgData name="Niranjana Rajesh" userId="43dc2825-6106-411f-963a-a383a1d7d429" providerId="ADAL" clId="{A236E636-B115-44A7-8389-A460ECA142FB}" dt="2023-06-18T07:06:42.935" v="1432" actId="2696"/>
          <pc:sldLayoutMkLst>
            <pc:docMk/>
            <pc:sldMasterMk cId="4007860117" sldId="2147483713"/>
            <pc:sldLayoutMk cId="2454989288" sldId="2147483720"/>
          </pc:sldLayoutMkLst>
        </pc:sldLayoutChg>
        <pc:sldLayoutChg chg="del">
          <pc:chgData name="Niranjana Rajesh" userId="43dc2825-6106-411f-963a-a383a1d7d429" providerId="ADAL" clId="{A236E636-B115-44A7-8389-A460ECA142FB}" dt="2023-06-18T07:06:42.935" v="1432" actId="2696"/>
          <pc:sldLayoutMkLst>
            <pc:docMk/>
            <pc:sldMasterMk cId="4007860117" sldId="2147483713"/>
            <pc:sldLayoutMk cId="2728276922" sldId="2147483721"/>
          </pc:sldLayoutMkLst>
        </pc:sldLayoutChg>
        <pc:sldLayoutChg chg="del">
          <pc:chgData name="Niranjana Rajesh" userId="43dc2825-6106-411f-963a-a383a1d7d429" providerId="ADAL" clId="{A236E636-B115-44A7-8389-A460ECA142FB}" dt="2023-06-18T07:06:42.935" v="1432" actId="2696"/>
          <pc:sldLayoutMkLst>
            <pc:docMk/>
            <pc:sldMasterMk cId="4007860117" sldId="2147483713"/>
            <pc:sldLayoutMk cId="4027658295" sldId="2147483722"/>
          </pc:sldLayoutMkLst>
        </pc:sldLayoutChg>
        <pc:sldLayoutChg chg="del">
          <pc:chgData name="Niranjana Rajesh" userId="43dc2825-6106-411f-963a-a383a1d7d429" providerId="ADAL" clId="{A236E636-B115-44A7-8389-A460ECA142FB}" dt="2023-06-18T07:06:42.935" v="1432" actId="2696"/>
          <pc:sldLayoutMkLst>
            <pc:docMk/>
            <pc:sldMasterMk cId="4007860117" sldId="2147483713"/>
            <pc:sldLayoutMk cId="114112046" sldId="2147483723"/>
          </pc:sldLayoutMkLst>
        </pc:sldLayoutChg>
        <pc:sldLayoutChg chg="del">
          <pc:chgData name="Niranjana Rajesh" userId="43dc2825-6106-411f-963a-a383a1d7d429" providerId="ADAL" clId="{A236E636-B115-44A7-8389-A460ECA142FB}" dt="2023-06-18T07:06:42.935" v="1432" actId="2696"/>
          <pc:sldLayoutMkLst>
            <pc:docMk/>
            <pc:sldMasterMk cId="4007860117" sldId="2147483713"/>
            <pc:sldLayoutMk cId="962652483" sldId="2147483724"/>
          </pc:sldLayoutMkLst>
        </pc:sldLayoutChg>
        <pc:sldLayoutChg chg="del">
          <pc:chgData name="Niranjana Rajesh" userId="43dc2825-6106-411f-963a-a383a1d7d429" providerId="ADAL" clId="{A236E636-B115-44A7-8389-A460ECA142FB}" dt="2023-06-18T07:06:42.935" v="1432" actId="2696"/>
          <pc:sldLayoutMkLst>
            <pc:docMk/>
            <pc:sldMasterMk cId="4007860117" sldId="2147483713"/>
            <pc:sldLayoutMk cId="18922561" sldId="2147483725"/>
          </pc:sldLayoutMkLst>
        </pc:sldLayoutChg>
      </pc:sldMasterChg>
    </pc:docChg>
  </pc:docChgLst>
  <pc:docChgLst>
    <pc:chgData name="Naomi Ho" userId="S::naomi.ho@bettercotton.org::2faf95aa-450d-4d35-8c7f-d27430629a1c" providerId="AD" clId="Web-{09A6DD61-14D6-1451-814A-26DA292E4B7A}"/>
    <pc:docChg chg="addSld modSld">
      <pc:chgData name="Naomi Ho" userId="S::naomi.ho@bettercotton.org::2faf95aa-450d-4d35-8c7f-d27430629a1c" providerId="AD" clId="Web-{09A6DD61-14D6-1451-814A-26DA292E4B7A}" dt="2023-06-05T15:35:41.354" v="41" actId="20577"/>
      <pc:docMkLst>
        <pc:docMk/>
      </pc:docMkLst>
      <pc:sldChg chg="modSp">
        <pc:chgData name="Naomi Ho" userId="S::naomi.ho@bettercotton.org::2faf95aa-450d-4d35-8c7f-d27430629a1c" providerId="AD" clId="Web-{09A6DD61-14D6-1451-814A-26DA292E4B7A}" dt="2023-06-05T15:34:13.727" v="0" actId="14100"/>
        <pc:sldMkLst>
          <pc:docMk/>
          <pc:sldMk cId="824739939" sldId="288"/>
        </pc:sldMkLst>
        <pc:grpChg chg="mod">
          <ac:chgData name="Naomi Ho" userId="S::naomi.ho@bettercotton.org::2faf95aa-450d-4d35-8c7f-d27430629a1c" providerId="AD" clId="Web-{09A6DD61-14D6-1451-814A-26DA292E4B7A}" dt="2023-06-05T15:34:13.727" v="0" actId="14100"/>
          <ac:grpSpMkLst>
            <pc:docMk/>
            <pc:sldMk cId="824739939" sldId="288"/>
            <ac:grpSpMk id="5" creationId="{36CF1129-B85E-9C0C-C8ED-3F2FBFCCA473}"/>
          </ac:grpSpMkLst>
        </pc:grpChg>
      </pc:sldChg>
      <pc:sldChg chg="delSp modSp add replId">
        <pc:chgData name="Naomi Ho" userId="S::naomi.ho@bettercotton.org::2faf95aa-450d-4d35-8c7f-d27430629a1c" providerId="AD" clId="Web-{09A6DD61-14D6-1451-814A-26DA292E4B7A}" dt="2023-06-05T15:35:41.354" v="41" actId="20577"/>
        <pc:sldMkLst>
          <pc:docMk/>
          <pc:sldMk cId="60931730" sldId="294"/>
        </pc:sldMkLst>
        <pc:spChg chg="del">
          <ac:chgData name="Naomi Ho" userId="S::naomi.ho@bettercotton.org::2faf95aa-450d-4d35-8c7f-d27430629a1c" providerId="AD" clId="Web-{09A6DD61-14D6-1451-814A-26DA292E4B7A}" dt="2023-06-05T15:34:46.165" v="3"/>
          <ac:spMkLst>
            <pc:docMk/>
            <pc:sldMk cId="60931730" sldId="294"/>
            <ac:spMk id="17" creationId="{AC1603E2-7225-D631-0A5D-4EF9652B2B0C}"/>
          </ac:spMkLst>
        </pc:spChg>
        <pc:spChg chg="mod">
          <ac:chgData name="Naomi Ho" userId="S::naomi.ho@bettercotton.org::2faf95aa-450d-4d35-8c7f-d27430629a1c" providerId="AD" clId="Web-{09A6DD61-14D6-1451-814A-26DA292E4B7A}" dt="2023-06-05T15:35:41.354" v="41" actId="20577"/>
          <ac:spMkLst>
            <pc:docMk/>
            <pc:sldMk cId="60931730" sldId="294"/>
            <ac:spMk id="18" creationId="{2FE7C207-7979-7DDB-C5B5-65975D660D5C}"/>
          </ac:spMkLst>
        </pc:spChg>
        <pc:grpChg chg="del">
          <ac:chgData name="Naomi Ho" userId="S::naomi.ho@bettercotton.org::2faf95aa-450d-4d35-8c7f-d27430629a1c" providerId="AD" clId="Web-{09A6DD61-14D6-1451-814A-26DA292E4B7A}" dt="2023-06-05T15:34:43.571" v="2"/>
          <ac:grpSpMkLst>
            <pc:docMk/>
            <pc:sldMk cId="60931730" sldId="294"/>
            <ac:grpSpMk id="5" creationId="{36CF1129-B85E-9C0C-C8ED-3F2FBFCCA473}"/>
          </ac:grpSpMkLst>
        </pc:grpChg>
        <pc:grpChg chg="del mod">
          <ac:chgData name="Naomi Ho" userId="S::naomi.ho@bettercotton.org::2faf95aa-450d-4d35-8c7f-d27430629a1c" providerId="AD" clId="Web-{09A6DD61-14D6-1451-814A-26DA292E4B7A}" dt="2023-06-05T15:35:03.212" v="11"/>
          <ac:grpSpMkLst>
            <pc:docMk/>
            <pc:sldMk cId="60931730" sldId="294"/>
            <ac:grpSpMk id="16" creationId="{ED012F06-FF46-2696-EDD2-1B69DC496622}"/>
          </ac:grpSpMkLst>
        </pc:grpChg>
        <pc:grpChg chg="del">
          <ac:chgData name="Naomi Ho" userId="S::naomi.ho@bettercotton.org::2faf95aa-450d-4d35-8c7f-d27430629a1c" providerId="AD" clId="Web-{09A6DD61-14D6-1451-814A-26DA292E4B7A}" dt="2023-06-05T15:34:51.212" v="7"/>
          <ac:grpSpMkLst>
            <pc:docMk/>
            <pc:sldMk cId="60931730" sldId="294"/>
            <ac:grpSpMk id="36" creationId="{D510A60A-AFFE-0B65-DF06-0228F0EC747F}"/>
          </ac:grpSpMkLst>
        </pc:grpChg>
        <pc:cxnChg chg="del">
          <ac:chgData name="Naomi Ho" userId="S::naomi.ho@bettercotton.org::2faf95aa-450d-4d35-8c7f-d27430629a1c" providerId="AD" clId="Web-{09A6DD61-14D6-1451-814A-26DA292E4B7A}" dt="2023-06-05T15:34:47.759" v="4"/>
          <ac:cxnSpMkLst>
            <pc:docMk/>
            <pc:sldMk cId="60931730" sldId="294"/>
            <ac:cxnSpMk id="13" creationId="{5233BBF6-80B9-E37E-25FC-37CAB833B521}"/>
          </ac:cxnSpMkLst>
        </pc:cxnChg>
        <pc:cxnChg chg="del">
          <ac:chgData name="Naomi Ho" userId="S::naomi.ho@bettercotton.org::2faf95aa-450d-4d35-8c7f-d27430629a1c" providerId="AD" clId="Web-{09A6DD61-14D6-1451-814A-26DA292E4B7A}" dt="2023-06-05T15:34:50.384" v="6"/>
          <ac:cxnSpMkLst>
            <pc:docMk/>
            <pc:sldMk cId="60931730" sldId="294"/>
            <ac:cxnSpMk id="14" creationId="{7EDE9661-4245-DD74-F6A2-DD7F25FB5E2B}"/>
          </ac:cxnSpMkLst>
        </pc:cxnChg>
        <pc:cxnChg chg="del">
          <ac:chgData name="Naomi Ho" userId="S::naomi.ho@bettercotton.org::2faf95aa-450d-4d35-8c7f-d27430629a1c" providerId="AD" clId="Web-{09A6DD61-14D6-1451-814A-26DA292E4B7A}" dt="2023-06-05T15:34:49.337" v="5"/>
          <ac:cxnSpMkLst>
            <pc:docMk/>
            <pc:sldMk cId="60931730" sldId="294"/>
            <ac:cxnSpMk id="23" creationId="{EB2D47C8-B163-4B3B-BC37-222578A82313}"/>
          </ac:cxnSpMkLst>
        </pc:cxnChg>
        <pc:cxnChg chg="del">
          <ac:chgData name="Naomi Ho" userId="S::naomi.ho@bettercotton.org::2faf95aa-450d-4d35-8c7f-d27430629a1c" providerId="AD" clId="Web-{09A6DD61-14D6-1451-814A-26DA292E4B7A}" dt="2023-06-05T15:34:54.071" v="8"/>
          <ac:cxnSpMkLst>
            <pc:docMk/>
            <pc:sldMk cId="60931730" sldId="294"/>
            <ac:cxnSpMk id="41" creationId="{F7EA56B0-54AB-54A6-296D-39845DF62FBF}"/>
          </ac:cxnSpMkLst>
        </pc:cxnChg>
      </pc:sldChg>
    </pc:docChg>
  </pc:docChgLst>
  <pc:docChgLst>
    <pc:chgData name="Naomi Ho" userId="2faf95aa-450d-4d35-8c7f-d27430629a1c" providerId="ADAL" clId="{88C9C868-AE14-4B3C-A5DF-FDD49B960046}"/>
    <pc:docChg chg="undo custSel addSld delSld modSld sldOrd">
      <pc:chgData name="Naomi Ho" userId="2faf95aa-450d-4d35-8c7f-d27430629a1c" providerId="ADAL" clId="{88C9C868-AE14-4B3C-A5DF-FDD49B960046}" dt="2023-06-20T18:59:57.216" v="227" actId="729"/>
      <pc:docMkLst>
        <pc:docMk/>
      </pc:docMkLst>
      <pc:sldChg chg="modSp mod">
        <pc:chgData name="Naomi Ho" userId="2faf95aa-450d-4d35-8c7f-d27430629a1c" providerId="ADAL" clId="{88C9C868-AE14-4B3C-A5DF-FDD49B960046}" dt="2023-06-14T13:10:18.195" v="140" actId="113"/>
        <pc:sldMkLst>
          <pc:docMk/>
          <pc:sldMk cId="2385738458" sldId="289"/>
        </pc:sldMkLst>
        <pc:spChg chg="mod">
          <ac:chgData name="Naomi Ho" userId="2faf95aa-450d-4d35-8c7f-d27430629a1c" providerId="ADAL" clId="{88C9C868-AE14-4B3C-A5DF-FDD49B960046}" dt="2023-06-14T13:10:18.195" v="140" actId="113"/>
          <ac:spMkLst>
            <pc:docMk/>
            <pc:sldMk cId="2385738458" sldId="289"/>
            <ac:spMk id="14" creationId="{27C6D366-ED4D-AF91-E26B-37FF441F8BB2}"/>
          </ac:spMkLst>
        </pc:spChg>
      </pc:sldChg>
      <pc:sldChg chg="ord">
        <pc:chgData name="Naomi Ho" userId="2faf95aa-450d-4d35-8c7f-d27430629a1c" providerId="ADAL" clId="{88C9C868-AE14-4B3C-A5DF-FDD49B960046}" dt="2023-06-07T19:55:32.201" v="2" actId="20578"/>
        <pc:sldMkLst>
          <pc:docMk/>
          <pc:sldMk cId="2869463670" sldId="290"/>
        </pc:sldMkLst>
      </pc:sldChg>
      <pc:sldChg chg="mod modShow">
        <pc:chgData name="Naomi Ho" userId="2faf95aa-450d-4d35-8c7f-d27430629a1c" providerId="ADAL" clId="{88C9C868-AE14-4B3C-A5DF-FDD49B960046}" dt="2023-06-20T18:59:57.216" v="227" actId="729"/>
        <pc:sldMkLst>
          <pc:docMk/>
          <pc:sldMk cId="1138175935" sldId="292"/>
        </pc:sldMkLst>
      </pc:sldChg>
      <pc:sldChg chg="del">
        <pc:chgData name="Naomi Ho" userId="2faf95aa-450d-4d35-8c7f-d27430629a1c" providerId="ADAL" clId="{88C9C868-AE14-4B3C-A5DF-FDD49B960046}" dt="2023-06-09T10:14:35.439" v="5" actId="2696"/>
        <pc:sldMkLst>
          <pc:docMk/>
          <pc:sldMk cId="515512297" sldId="296"/>
        </pc:sldMkLst>
      </pc:sldChg>
      <pc:sldChg chg="modSp mod">
        <pc:chgData name="Naomi Ho" userId="2faf95aa-450d-4d35-8c7f-d27430629a1c" providerId="ADAL" clId="{88C9C868-AE14-4B3C-A5DF-FDD49B960046}" dt="2023-06-09T10:15:23.011" v="8" actId="20577"/>
        <pc:sldMkLst>
          <pc:docMk/>
          <pc:sldMk cId="257024696" sldId="299"/>
        </pc:sldMkLst>
        <pc:spChg chg="mod">
          <ac:chgData name="Naomi Ho" userId="2faf95aa-450d-4d35-8c7f-d27430629a1c" providerId="ADAL" clId="{88C9C868-AE14-4B3C-A5DF-FDD49B960046}" dt="2023-06-09T10:15:23.011" v="8" actId="20577"/>
          <ac:spMkLst>
            <pc:docMk/>
            <pc:sldMk cId="257024696" sldId="299"/>
            <ac:spMk id="3" creationId="{74D38EA8-9FE9-9047-3397-C82BB1BC2151}"/>
          </ac:spMkLst>
        </pc:spChg>
      </pc:sldChg>
      <pc:sldChg chg="modSp del mod">
        <pc:chgData name="Naomi Ho" userId="2faf95aa-450d-4d35-8c7f-d27430629a1c" providerId="ADAL" clId="{88C9C868-AE14-4B3C-A5DF-FDD49B960046}" dt="2023-06-14T13:11:24.066" v="141" actId="47"/>
        <pc:sldMkLst>
          <pc:docMk/>
          <pc:sldMk cId="2716692719" sldId="300"/>
        </pc:sldMkLst>
        <pc:spChg chg="mod">
          <ac:chgData name="Naomi Ho" userId="2faf95aa-450d-4d35-8c7f-d27430629a1c" providerId="ADAL" clId="{88C9C868-AE14-4B3C-A5DF-FDD49B960046}" dt="2023-06-11T19:33:32.090" v="96" actId="20577"/>
          <ac:spMkLst>
            <pc:docMk/>
            <pc:sldMk cId="2716692719" sldId="300"/>
            <ac:spMk id="18" creationId="{A96764BA-4B60-99FF-7B16-CEACC1D3AB17}"/>
          </ac:spMkLst>
        </pc:spChg>
      </pc:sldChg>
      <pc:sldChg chg="modSp mod">
        <pc:chgData name="Naomi Ho" userId="2faf95aa-450d-4d35-8c7f-d27430629a1c" providerId="ADAL" clId="{88C9C868-AE14-4B3C-A5DF-FDD49B960046}" dt="2023-06-19T20:24:15.542" v="226" actId="20577"/>
        <pc:sldMkLst>
          <pc:docMk/>
          <pc:sldMk cId="4009788007" sldId="301"/>
        </pc:sldMkLst>
        <pc:spChg chg="mod">
          <ac:chgData name="Naomi Ho" userId="2faf95aa-450d-4d35-8c7f-d27430629a1c" providerId="ADAL" clId="{88C9C868-AE14-4B3C-A5DF-FDD49B960046}" dt="2023-06-19T20:24:15.542" v="226" actId="20577"/>
          <ac:spMkLst>
            <pc:docMk/>
            <pc:sldMk cId="4009788007" sldId="301"/>
            <ac:spMk id="3" creationId="{83974190-FD30-7FB7-9CD0-5BEC4D3EDC3E}"/>
          </ac:spMkLst>
        </pc:spChg>
        <pc:spChg chg="mod">
          <ac:chgData name="Naomi Ho" userId="2faf95aa-450d-4d35-8c7f-d27430629a1c" providerId="ADAL" clId="{88C9C868-AE14-4B3C-A5DF-FDD49B960046}" dt="2023-06-14T15:30:51.895" v="146" actId="1076"/>
          <ac:spMkLst>
            <pc:docMk/>
            <pc:sldMk cId="4009788007" sldId="301"/>
            <ac:spMk id="5" creationId="{4C41DB67-704C-61A3-DA26-79D5B3F49034}"/>
          </ac:spMkLst>
        </pc:spChg>
      </pc:sldChg>
      <pc:sldChg chg="modSp del mod">
        <pc:chgData name="Naomi Ho" userId="2faf95aa-450d-4d35-8c7f-d27430629a1c" providerId="ADAL" clId="{88C9C868-AE14-4B3C-A5DF-FDD49B960046}" dt="2023-06-14T15:23:36.489" v="142" actId="47"/>
        <pc:sldMkLst>
          <pc:docMk/>
          <pc:sldMk cId="3739414651" sldId="2147374851"/>
        </pc:sldMkLst>
        <pc:spChg chg="mod">
          <ac:chgData name="Naomi Ho" userId="2faf95aa-450d-4d35-8c7f-d27430629a1c" providerId="ADAL" clId="{88C9C868-AE14-4B3C-A5DF-FDD49B960046}" dt="2023-06-09T10:14:01.182" v="4" actId="20577"/>
          <ac:spMkLst>
            <pc:docMk/>
            <pc:sldMk cId="3739414651" sldId="2147374851"/>
            <ac:spMk id="9" creationId="{6E3EA578-C8D3-B0B0-C5B2-396C245DC41C}"/>
          </ac:spMkLst>
        </pc:spChg>
      </pc:sldChg>
      <pc:sldChg chg="mod modShow">
        <pc:chgData name="Naomi Ho" userId="2faf95aa-450d-4d35-8c7f-d27430629a1c" providerId="ADAL" clId="{88C9C868-AE14-4B3C-A5DF-FDD49B960046}" dt="2023-06-19T09:48:04.904" v="147" actId="729"/>
        <pc:sldMkLst>
          <pc:docMk/>
          <pc:sldMk cId="506989637" sldId="2147374855"/>
        </pc:sldMkLst>
      </pc:sldChg>
      <pc:sldChg chg="modSp mod">
        <pc:chgData name="Naomi Ho" userId="2faf95aa-450d-4d35-8c7f-d27430629a1c" providerId="ADAL" clId="{88C9C868-AE14-4B3C-A5DF-FDD49B960046}" dt="2023-06-19T09:52:08.613" v="205" actId="20577"/>
        <pc:sldMkLst>
          <pc:docMk/>
          <pc:sldMk cId="4248978637" sldId="2147374863"/>
        </pc:sldMkLst>
        <pc:spChg chg="mod">
          <ac:chgData name="Naomi Ho" userId="2faf95aa-450d-4d35-8c7f-d27430629a1c" providerId="ADAL" clId="{88C9C868-AE14-4B3C-A5DF-FDD49B960046}" dt="2023-06-19T09:52:08.613" v="205" actId="20577"/>
          <ac:spMkLst>
            <pc:docMk/>
            <pc:sldMk cId="4248978637" sldId="2147374863"/>
            <ac:spMk id="25" creationId="{DD37C7B6-AE61-47FE-9F3C-2EB017FB748E}"/>
          </ac:spMkLst>
        </pc:spChg>
      </pc:sldChg>
      <pc:sldChg chg="modSp mod">
        <pc:chgData name="Naomi Ho" userId="2faf95aa-450d-4d35-8c7f-d27430629a1c" providerId="ADAL" clId="{88C9C868-AE14-4B3C-A5DF-FDD49B960046}" dt="2023-06-19T09:50:18.161" v="155" actId="20577"/>
        <pc:sldMkLst>
          <pc:docMk/>
          <pc:sldMk cId="961570874" sldId="2147374865"/>
        </pc:sldMkLst>
        <pc:spChg chg="mod">
          <ac:chgData name="Naomi Ho" userId="2faf95aa-450d-4d35-8c7f-d27430629a1c" providerId="ADAL" clId="{88C9C868-AE14-4B3C-A5DF-FDD49B960046}" dt="2023-06-19T09:50:18.161" v="155" actId="20577"/>
          <ac:spMkLst>
            <pc:docMk/>
            <pc:sldMk cId="961570874" sldId="2147374865"/>
            <ac:spMk id="20" creationId="{01A05EAE-9924-A096-762A-25AD3271E03A}"/>
          </ac:spMkLst>
        </pc:spChg>
      </pc:sldChg>
      <pc:sldChg chg="modSp mod">
        <pc:chgData name="Naomi Ho" userId="2faf95aa-450d-4d35-8c7f-d27430629a1c" providerId="ADAL" clId="{88C9C868-AE14-4B3C-A5DF-FDD49B960046}" dt="2023-06-19T09:50:30.236" v="163" actId="20577"/>
        <pc:sldMkLst>
          <pc:docMk/>
          <pc:sldMk cId="1290347829" sldId="2147374866"/>
        </pc:sldMkLst>
        <pc:spChg chg="mod">
          <ac:chgData name="Naomi Ho" userId="2faf95aa-450d-4d35-8c7f-d27430629a1c" providerId="ADAL" clId="{88C9C868-AE14-4B3C-A5DF-FDD49B960046}" dt="2023-06-19T09:50:30.236" v="163" actId="20577"/>
          <ac:spMkLst>
            <pc:docMk/>
            <pc:sldMk cId="1290347829" sldId="2147374866"/>
            <ac:spMk id="20" creationId="{01A05EAE-9924-A096-762A-25AD3271E03A}"/>
          </ac:spMkLst>
        </pc:spChg>
      </pc:sldChg>
      <pc:sldChg chg="new">
        <pc:chgData name="Naomi Ho" userId="2faf95aa-450d-4d35-8c7f-d27430629a1c" providerId="ADAL" clId="{88C9C868-AE14-4B3C-A5DF-FDD49B960046}" dt="2023-06-19T09:52:13.531" v="206" actId="680"/>
        <pc:sldMkLst>
          <pc:docMk/>
          <pc:sldMk cId="763814619" sldId="2147374867"/>
        </pc:sldMkLst>
      </pc:sldChg>
      <pc:sldChg chg="modSp mod">
        <pc:chgData name="Naomi Ho" userId="2faf95aa-450d-4d35-8c7f-d27430629a1c" providerId="ADAL" clId="{88C9C868-AE14-4B3C-A5DF-FDD49B960046}" dt="2023-06-19T13:11:49.170" v="219" actId="14100"/>
        <pc:sldMkLst>
          <pc:docMk/>
          <pc:sldMk cId="4281553489" sldId="2147374868"/>
        </pc:sldMkLst>
        <pc:picChg chg="mod">
          <ac:chgData name="Naomi Ho" userId="2faf95aa-450d-4d35-8c7f-d27430629a1c" providerId="ADAL" clId="{88C9C868-AE14-4B3C-A5DF-FDD49B960046}" dt="2023-06-19T13:11:49.170" v="219" actId="14100"/>
          <ac:picMkLst>
            <pc:docMk/>
            <pc:sldMk cId="4281553489" sldId="2147374868"/>
            <ac:picMk id="5" creationId="{EDD2ECE8-B8F6-25EC-CA6F-93DE92818599}"/>
          </ac:picMkLst>
        </pc:picChg>
      </pc:sldChg>
    </pc:docChg>
  </pc:docChgLst>
  <pc:docChgLst>
    <pc:chgData name="Lara Cruz" userId="b0f71b28-16e3-44a7-b9d4-cbd6d38f3b0b" providerId="ADAL" clId="{B101B667-BF26-431E-9872-DE58BF1D877B}"/>
    <pc:docChg chg="undo redo custSel addSld delSld modSld sldOrd">
      <pc:chgData name="Lara Cruz" userId="b0f71b28-16e3-44a7-b9d4-cbd6d38f3b0b" providerId="ADAL" clId="{B101B667-BF26-431E-9872-DE58BF1D877B}" dt="2023-06-14T15:02:41.253" v="1728"/>
      <pc:docMkLst>
        <pc:docMk/>
      </pc:docMkLst>
      <pc:sldChg chg="modSp add mod">
        <pc:chgData name="Lara Cruz" userId="b0f71b28-16e3-44a7-b9d4-cbd6d38f3b0b" providerId="ADAL" clId="{B101B667-BF26-431E-9872-DE58BF1D877B}" dt="2023-06-14T15:02:31.708" v="1726" actId="1076"/>
        <pc:sldMkLst>
          <pc:docMk/>
          <pc:sldMk cId="1758700890" sldId="270"/>
        </pc:sldMkLst>
        <pc:spChg chg="mod">
          <ac:chgData name="Lara Cruz" userId="b0f71b28-16e3-44a7-b9d4-cbd6d38f3b0b" providerId="ADAL" clId="{B101B667-BF26-431E-9872-DE58BF1D877B}" dt="2023-06-14T15:02:14.226" v="1696" actId="14100"/>
          <ac:spMkLst>
            <pc:docMk/>
            <pc:sldMk cId="1758700890" sldId="270"/>
            <ac:spMk id="5" creationId="{C1A5A127-5AB3-431C-8585-BC245366B685}"/>
          </ac:spMkLst>
        </pc:spChg>
        <pc:spChg chg="mod">
          <ac:chgData name="Lara Cruz" userId="b0f71b28-16e3-44a7-b9d4-cbd6d38f3b0b" providerId="ADAL" clId="{B101B667-BF26-431E-9872-DE58BF1D877B}" dt="2023-06-14T15:02:31.708" v="1726" actId="1076"/>
          <ac:spMkLst>
            <pc:docMk/>
            <pc:sldMk cId="1758700890" sldId="270"/>
            <ac:spMk id="19" creationId="{BDD267D5-DA77-4BD6-A04B-E8AE0EE982B2}"/>
          </ac:spMkLst>
        </pc:spChg>
        <pc:grpChg chg="mod">
          <ac:chgData name="Lara Cruz" userId="b0f71b28-16e3-44a7-b9d4-cbd6d38f3b0b" providerId="ADAL" clId="{B101B667-BF26-431E-9872-DE58BF1D877B}" dt="2023-06-14T15:01:43.321" v="1677" actId="14826"/>
          <ac:grpSpMkLst>
            <pc:docMk/>
            <pc:sldMk cId="1758700890" sldId="270"/>
            <ac:grpSpMk id="6" creationId="{96E1E9C5-3CEE-8130-05ED-6712A191E7ED}"/>
          </ac:grpSpMkLst>
        </pc:grpChg>
        <pc:picChg chg="mod">
          <ac:chgData name="Lara Cruz" userId="b0f71b28-16e3-44a7-b9d4-cbd6d38f3b0b" providerId="ADAL" clId="{B101B667-BF26-431E-9872-DE58BF1D877B}" dt="2023-06-14T15:01:43.321" v="1677" actId="14826"/>
          <ac:picMkLst>
            <pc:docMk/>
            <pc:sldMk cId="1758700890" sldId="270"/>
            <ac:picMk id="9" creationId="{DB187CDC-32B7-0496-6A44-79225533C291}"/>
          </ac:picMkLst>
        </pc:picChg>
        <pc:picChg chg="mod modCrop">
          <ac:chgData name="Lara Cruz" userId="b0f71b28-16e3-44a7-b9d4-cbd6d38f3b0b" providerId="ADAL" clId="{B101B667-BF26-431E-9872-DE58BF1D877B}" dt="2023-06-14T15:01:59.235" v="1678" actId="18131"/>
          <ac:picMkLst>
            <pc:docMk/>
            <pc:sldMk cId="1758700890" sldId="270"/>
            <ac:picMk id="10" creationId="{2D44B0C6-90D6-72DE-918C-534776DDABAB}"/>
          </ac:picMkLst>
        </pc:picChg>
      </pc:sldChg>
      <pc:sldChg chg="del">
        <pc:chgData name="Lara Cruz" userId="b0f71b28-16e3-44a7-b9d4-cbd6d38f3b0b" providerId="ADAL" clId="{B101B667-BF26-431E-9872-DE58BF1D877B}" dt="2023-04-28T09:03:26.711" v="72" actId="47"/>
        <pc:sldMkLst>
          <pc:docMk/>
          <pc:sldMk cId="3375207421" sldId="279"/>
        </pc:sldMkLst>
      </pc:sldChg>
      <pc:sldChg chg="addSp delSp modSp add mod">
        <pc:chgData name="Lara Cruz" userId="b0f71b28-16e3-44a7-b9d4-cbd6d38f3b0b" providerId="ADAL" clId="{B101B667-BF26-431E-9872-DE58BF1D877B}" dt="2023-06-01T15:13:12.233" v="720" actId="14100"/>
        <pc:sldMkLst>
          <pc:docMk/>
          <pc:sldMk cId="1920907082" sldId="281"/>
        </pc:sldMkLst>
        <pc:spChg chg="mod">
          <ac:chgData name="Lara Cruz" userId="b0f71b28-16e3-44a7-b9d4-cbd6d38f3b0b" providerId="ADAL" clId="{B101B667-BF26-431E-9872-DE58BF1D877B}" dt="2023-06-01T15:13:12.233" v="720" actId="14100"/>
          <ac:spMkLst>
            <pc:docMk/>
            <pc:sldMk cId="1920907082" sldId="281"/>
            <ac:spMk id="12" creationId="{662B4C14-3F7F-223A-BDE5-445ED3C1FE6A}"/>
          </ac:spMkLst>
        </pc:spChg>
        <pc:spChg chg="mod">
          <ac:chgData name="Lara Cruz" userId="b0f71b28-16e3-44a7-b9d4-cbd6d38f3b0b" providerId="ADAL" clId="{B101B667-BF26-431E-9872-DE58BF1D877B}" dt="2023-06-01T15:12:07.204" v="716" actId="20577"/>
          <ac:spMkLst>
            <pc:docMk/>
            <pc:sldMk cId="1920907082" sldId="281"/>
            <ac:spMk id="18" creationId="{A96764BA-4B60-99FF-7B16-CEACC1D3AB17}"/>
          </ac:spMkLst>
        </pc:spChg>
        <pc:picChg chg="mod">
          <ac:chgData name="Lara Cruz" userId="b0f71b28-16e3-44a7-b9d4-cbd6d38f3b0b" providerId="ADAL" clId="{B101B667-BF26-431E-9872-DE58BF1D877B}" dt="2023-06-01T15:11:59.313" v="703" actId="14100"/>
          <ac:picMkLst>
            <pc:docMk/>
            <pc:sldMk cId="1920907082" sldId="281"/>
            <ac:picMk id="3" creationId="{AAA2643C-D414-BA28-749A-5B5B966180CC}"/>
          </ac:picMkLst>
        </pc:picChg>
        <pc:picChg chg="del">
          <ac:chgData name="Lara Cruz" userId="b0f71b28-16e3-44a7-b9d4-cbd6d38f3b0b" providerId="ADAL" clId="{B101B667-BF26-431E-9872-DE58BF1D877B}" dt="2023-06-01T15:13:05.677" v="719" actId="478"/>
          <ac:picMkLst>
            <pc:docMk/>
            <pc:sldMk cId="1920907082" sldId="281"/>
            <ac:picMk id="8" creationId="{FAEE7493-02CC-FB7C-96ED-BF8672137C0F}"/>
          </ac:picMkLst>
        </pc:picChg>
        <pc:picChg chg="mod">
          <ac:chgData name="Lara Cruz" userId="b0f71b28-16e3-44a7-b9d4-cbd6d38f3b0b" providerId="ADAL" clId="{B101B667-BF26-431E-9872-DE58BF1D877B}" dt="2023-06-01T15:12:57.878" v="718" actId="14826"/>
          <ac:picMkLst>
            <pc:docMk/>
            <pc:sldMk cId="1920907082" sldId="281"/>
            <ac:picMk id="15" creationId="{048AF8F7-9AFE-4044-9837-6B6CD3305E92}"/>
          </ac:picMkLst>
        </pc:picChg>
        <pc:picChg chg="add del mod">
          <ac:chgData name="Lara Cruz" userId="b0f71b28-16e3-44a7-b9d4-cbd6d38f3b0b" providerId="ADAL" clId="{B101B667-BF26-431E-9872-DE58BF1D877B}" dt="2023-06-01T15:11:56.181" v="702" actId="1076"/>
          <ac:picMkLst>
            <pc:docMk/>
            <pc:sldMk cId="1920907082" sldId="281"/>
            <ac:picMk id="21" creationId="{409D514F-6128-A433-FFAD-9C6141DEBDD8}"/>
          </ac:picMkLst>
        </pc:picChg>
      </pc:sldChg>
      <pc:sldChg chg="modSp mod">
        <pc:chgData name="Lara Cruz" userId="b0f71b28-16e3-44a7-b9d4-cbd6d38f3b0b" providerId="ADAL" clId="{B101B667-BF26-431E-9872-DE58BF1D877B}" dt="2023-06-06T09:34:38.866" v="1015" actId="20577"/>
        <pc:sldMkLst>
          <pc:docMk/>
          <pc:sldMk cId="859432995" sldId="283"/>
        </pc:sldMkLst>
        <pc:spChg chg="mod">
          <ac:chgData name="Lara Cruz" userId="b0f71b28-16e3-44a7-b9d4-cbd6d38f3b0b" providerId="ADAL" clId="{B101B667-BF26-431E-9872-DE58BF1D877B}" dt="2023-06-06T09:27:01.712" v="970" actId="1076"/>
          <ac:spMkLst>
            <pc:docMk/>
            <pc:sldMk cId="859432995" sldId="283"/>
            <ac:spMk id="2" creationId="{026E42E7-79D2-380D-6DA1-2D74885C967E}"/>
          </ac:spMkLst>
        </pc:spChg>
        <pc:spChg chg="mod">
          <ac:chgData name="Lara Cruz" userId="b0f71b28-16e3-44a7-b9d4-cbd6d38f3b0b" providerId="ADAL" clId="{B101B667-BF26-431E-9872-DE58BF1D877B}" dt="2023-06-06T09:27:07.160" v="972" actId="1076"/>
          <ac:spMkLst>
            <pc:docMk/>
            <pc:sldMk cId="859432995" sldId="283"/>
            <ac:spMk id="18" creationId="{8DE207BB-C5D4-4F24-B248-9E88BAE129BE}"/>
          </ac:spMkLst>
        </pc:spChg>
        <pc:spChg chg="mod">
          <ac:chgData name="Lara Cruz" userId="b0f71b28-16e3-44a7-b9d4-cbd6d38f3b0b" providerId="ADAL" clId="{B101B667-BF26-431E-9872-DE58BF1D877B}" dt="2023-06-06T09:34:38.866" v="1015" actId="20577"/>
          <ac:spMkLst>
            <pc:docMk/>
            <pc:sldMk cId="859432995" sldId="283"/>
            <ac:spMk id="25" creationId="{DD37C7B6-AE61-47FE-9F3C-2EB017FB748E}"/>
          </ac:spMkLst>
        </pc:spChg>
        <pc:picChg chg="mod">
          <ac:chgData name="Lara Cruz" userId="b0f71b28-16e3-44a7-b9d4-cbd6d38f3b0b" providerId="ADAL" clId="{B101B667-BF26-431E-9872-DE58BF1D877B}" dt="2023-04-28T09:02:55.995" v="65" actId="1076"/>
          <ac:picMkLst>
            <pc:docMk/>
            <pc:sldMk cId="859432995" sldId="283"/>
            <ac:picMk id="15" creationId="{0BBB648C-A6B7-4204-A7F5-4EA26B8A9EDA}"/>
          </ac:picMkLst>
        </pc:picChg>
      </pc:sldChg>
      <pc:sldChg chg="addSp delSp modSp mod ord">
        <pc:chgData name="Lara Cruz" userId="b0f71b28-16e3-44a7-b9d4-cbd6d38f3b0b" providerId="ADAL" clId="{B101B667-BF26-431E-9872-DE58BF1D877B}" dt="2023-06-14T15:02:41.253" v="1728"/>
        <pc:sldMkLst>
          <pc:docMk/>
          <pc:sldMk cId="3135040927" sldId="285"/>
        </pc:sldMkLst>
        <pc:grpChg chg="add mod">
          <ac:chgData name="Lara Cruz" userId="b0f71b28-16e3-44a7-b9d4-cbd6d38f3b0b" providerId="ADAL" clId="{B101B667-BF26-431E-9872-DE58BF1D877B}" dt="2023-05-25T12:47:49.080" v="675"/>
          <ac:grpSpMkLst>
            <pc:docMk/>
            <pc:sldMk cId="3135040927" sldId="285"/>
            <ac:grpSpMk id="2" creationId="{8230BD16-ACF9-09FF-BAE3-926A7521A1C1}"/>
          </ac:grpSpMkLst>
        </pc:grpChg>
        <pc:grpChg chg="del">
          <ac:chgData name="Lara Cruz" userId="b0f71b28-16e3-44a7-b9d4-cbd6d38f3b0b" providerId="ADAL" clId="{B101B667-BF26-431E-9872-DE58BF1D877B}" dt="2023-05-25T12:47:48.339" v="674" actId="478"/>
          <ac:grpSpMkLst>
            <pc:docMk/>
            <pc:sldMk cId="3135040927" sldId="285"/>
            <ac:grpSpMk id="31" creationId="{29004C4E-DEEE-71EF-9C37-8BFA79D716A1}"/>
          </ac:grpSpMkLst>
        </pc:grpChg>
        <pc:picChg chg="mod">
          <ac:chgData name="Lara Cruz" userId="b0f71b28-16e3-44a7-b9d4-cbd6d38f3b0b" providerId="ADAL" clId="{B101B667-BF26-431E-9872-DE58BF1D877B}" dt="2023-05-25T12:47:49.080" v="675"/>
          <ac:picMkLst>
            <pc:docMk/>
            <pc:sldMk cId="3135040927" sldId="285"/>
            <ac:picMk id="3" creationId="{E2C669CC-9CA4-4D96-E822-F31862BD30D7}"/>
          </ac:picMkLst>
        </pc:picChg>
        <pc:picChg chg="mod">
          <ac:chgData name="Lara Cruz" userId="b0f71b28-16e3-44a7-b9d4-cbd6d38f3b0b" providerId="ADAL" clId="{B101B667-BF26-431E-9872-DE58BF1D877B}" dt="2023-05-25T12:47:49.080" v="675"/>
          <ac:picMkLst>
            <pc:docMk/>
            <pc:sldMk cId="3135040927" sldId="285"/>
            <ac:picMk id="5" creationId="{E19CA725-4B7D-BC38-A034-DF3EFDF1026E}"/>
          </ac:picMkLst>
        </pc:picChg>
        <pc:picChg chg="mod">
          <ac:chgData name="Lara Cruz" userId="b0f71b28-16e3-44a7-b9d4-cbd6d38f3b0b" providerId="ADAL" clId="{B101B667-BF26-431E-9872-DE58BF1D877B}" dt="2023-05-25T12:47:49.080" v="675"/>
          <ac:picMkLst>
            <pc:docMk/>
            <pc:sldMk cId="3135040927" sldId="285"/>
            <ac:picMk id="7" creationId="{6D023EEB-E0BF-88DB-E446-3AAE462078E1}"/>
          </ac:picMkLst>
        </pc:picChg>
        <pc:picChg chg="mod">
          <ac:chgData name="Lara Cruz" userId="b0f71b28-16e3-44a7-b9d4-cbd6d38f3b0b" providerId="ADAL" clId="{B101B667-BF26-431E-9872-DE58BF1D877B}" dt="2023-05-25T12:47:49.080" v="675"/>
          <ac:picMkLst>
            <pc:docMk/>
            <pc:sldMk cId="3135040927" sldId="285"/>
            <ac:picMk id="8" creationId="{849233D6-9526-D2D5-D021-ED68ED43C082}"/>
          </ac:picMkLst>
        </pc:picChg>
        <pc:picChg chg="mod">
          <ac:chgData name="Lara Cruz" userId="b0f71b28-16e3-44a7-b9d4-cbd6d38f3b0b" providerId="ADAL" clId="{B101B667-BF26-431E-9872-DE58BF1D877B}" dt="2023-05-25T12:47:49.080" v="675"/>
          <ac:picMkLst>
            <pc:docMk/>
            <pc:sldMk cId="3135040927" sldId="285"/>
            <ac:picMk id="9" creationId="{EEC51D2A-C425-3FDE-134F-DFD8608976A5}"/>
          </ac:picMkLst>
        </pc:picChg>
        <pc:picChg chg="mod">
          <ac:chgData name="Lara Cruz" userId="b0f71b28-16e3-44a7-b9d4-cbd6d38f3b0b" providerId="ADAL" clId="{B101B667-BF26-431E-9872-DE58BF1D877B}" dt="2023-05-25T12:47:49.080" v="675"/>
          <ac:picMkLst>
            <pc:docMk/>
            <pc:sldMk cId="3135040927" sldId="285"/>
            <ac:picMk id="10" creationId="{C45A0273-8C09-DE36-E59F-B293CE2160BD}"/>
          </ac:picMkLst>
        </pc:picChg>
        <pc:picChg chg="mod">
          <ac:chgData name="Lara Cruz" userId="b0f71b28-16e3-44a7-b9d4-cbd6d38f3b0b" providerId="ADAL" clId="{B101B667-BF26-431E-9872-DE58BF1D877B}" dt="2023-05-25T12:47:49.080" v="675"/>
          <ac:picMkLst>
            <pc:docMk/>
            <pc:sldMk cId="3135040927" sldId="285"/>
            <ac:picMk id="11" creationId="{1971995F-5FC1-6D04-22BF-EAA03D5E9CDF}"/>
          </ac:picMkLst>
        </pc:picChg>
        <pc:picChg chg="mod">
          <ac:chgData name="Lara Cruz" userId="b0f71b28-16e3-44a7-b9d4-cbd6d38f3b0b" providerId="ADAL" clId="{B101B667-BF26-431E-9872-DE58BF1D877B}" dt="2023-05-25T12:47:49.080" v="675"/>
          <ac:picMkLst>
            <pc:docMk/>
            <pc:sldMk cId="3135040927" sldId="285"/>
            <ac:picMk id="13" creationId="{EE934E5E-3012-E19F-3432-838060226E40}"/>
          </ac:picMkLst>
        </pc:picChg>
        <pc:picChg chg="mod">
          <ac:chgData name="Lara Cruz" userId="b0f71b28-16e3-44a7-b9d4-cbd6d38f3b0b" providerId="ADAL" clId="{B101B667-BF26-431E-9872-DE58BF1D877B}" dt="2023-05-25T12:47:49.080" v="675"/>
          <ac:picMkLst>
            <pc:docMk/>
            <pc:sldMk cId="3135040927" sldId="285"/>
            <ac:picMk id="14" creationId="{0E7F27C0-BCF2-73ED-A5F3-D663F9D2A578}"/>
          </ac:picMkLst>
        </pc:picChg>
        <pc:picChg chg="mod">
          <ac:chgData name="Lara Cruz" userId="b0f71b28-16e3-44a7-b9d4-cbd6d38f3b0b" providerId="ADAL" clId="{B101B667-BF26-431E-9872-DE58BF1D877B}" dt="2023-05-25T12:47:49.080" v="675"/>
          <ac:picMkLst>
            <pc:docMk/>
            <pc:sldMk cId="3135040927" sldId="285"/>
            <ac:picMk id="17" creationId="{A8322452-CA2C-C9AB-18BF-8E9FB5B795E4}"/>
          </ac:picMkLst>
        </pc:picChg>
        <pc:picChg chg="mod">
          <ac:chgData name="Lara Cruz" userId="b0f71b28-16e3-44a7-b9d4-cbd6d38f3b0b" providerId="ADAL" clId="{B101B667-BF26-431E-9872-DE58BF1D877B}" dt="2023-05-25T12:47:49.080" v="675"/>
          <ac:picMkLst>
            <pc:docMk/>
            <pc:sldMk cId="3135040927" sldId="285"/>
            <ac:picMk id="18" creationId="{3BE41B01-8BCC-F7CF-0E13-64A8C0D38716}"/>
          </ac:picMkLst>
        </pc:picChg>
        <pc:picChg chg="mod">
          <ac:chgData name="Lara Cruz" userId="b0f71b28-16e3-44a7-b9d4-cbd6d38f3b0b" providerId="ADAL" clId="{B101B667-BF26-431E-9872-DE58BF1D877B}" dt="2023-05-25T12:47:49.080" v="675"/>
          <ac:picMkLst>
            <pc:docMk/>
            <pc:sldMk cId="3135040927" sldId="285"/>
            <ac:picMk id="19" creationId="{799D144E-4C76-FB74-C4AE-99AAB2C02431}"/>
          </ac:picMkLst>
        </pc:picChg>
        <pc:picChg chg="mod">
          <ac:chgData name="Lara Cruz" userId="b0f71b28-16e3-44a7-b9d4-cbd6d38f3b0b" providerId="ADAL" clId="{B101B667-BF26-431E-9872-DE58BF1D877B}" dt="2023-05-25T12:47:49.080" v="675"/>
          <ac:picMkLst>
            <pc:docMk/>
            <pc:sldMk cId="3135040927" sldId="285"/>
            <ac:picMk id="20" creationId="{13D3DF60-56D8-E772-A912-BD7E0F87BB5F}"/>
          </ac:picMkLst>
        </pc:picChg>
        <pc:picChg chg="add del mod ord">
          <ac:chgData name="Lara Cruz" userId="b0f71b28-16e3-44a7-b9d4-cbd6d38f3b0b" providerId="ADAL" clId="{B101B667-BF26-431E-9872-DE58BF1D877B}" dt="2023-06-08T13:41:04.688" v="1019"/>
          <ac:picMkLst>
            <pc:docMk/>
            <pc:sldMk cId="3135040927" sldId="285"/>
            <ac:picMk id="21" creationId="{2043C821-09AC-73B0-1DA6-7DD38FB51208}"/>
          </ac:picMkLst>
        </pc:picChg>
      </pc:sldChg>
      <pc:sldChg chg="addSp delSp modSp mod">
        <pc:chgData name="Lara Cruz" userId="b0f71b28-16e3-44a7-b9d4-cbd6d38f3b0b" providerId="ADAL" clId="{B101B667-BF26-431E-9872-DE58BF1D877B}" dt="2023-05-25T12:47:43.380" v="673"/>
        <pc:sldMkLst>
          <pc:docMk/>
          <pc:sldMk cId="120730173" sldId="286"/>
        </pc:sldMkLst>
        <pc:grpChg chg="add mod">
          <ac:chgData name="Lara Cruz" userId="b0f71b28-16e3-44a7-b9d4-cbd6d38f3b0b" providerId="ADAL" clId="{B101B667-BF26-431E-9872-DE58BF1D877B}" dt="2023-05-25T12:47:43.380" v="673"/>
          <ac:grpSpMkLst>
            <pc:docMk/>
            <pc:sldMk cId="120730173" sldId="286"/>
            <ac:grpSpMk id="2" creationId="{7696B9AE-BFD6-C990-A716-331A72D9E2EA}"/>
          </ac:grpSpMkLst>
        </pc:grpChg>
        <pc:grpChg chg="del">
          <ac:chgData name="Lara Cruz" userId="b0f71b28-16e3-44a7-b9d4-cbd6d38f3b0b" providerId="ADAL" clId="{B101B667-BF26-431E-9872-DE58BF1D877B}" dt="2023-05-25T12:47:42.907" v="672" actId="478"/>
          <ac:grpSpMkLst>
            <pc:docMk/>
            <pc:sldMk cId="120730173" sldId="286"/>
            <ac:grpSpMk id="16" creationId="{C5E9FC9A-4BB8-F7DE-D51B-FB1B2FA5B040}"/>
          </ac:grpSpMkLst>
        </pc:grpChg>
        <pc:picChg chg="mod">
          <ac:chgData name="Lara Cruz" userId="b0f71b28-16e3-44a7-b9d4-cbd6d38f3b0b" providerId="ADAL" clId="{B101B667-BF26-431E-9872-DE58BF1D877B}" dt="2023-05-25T12:47:43.380" v="673"/>
          <ac:picMkLst>
            <pc:docMk/>
            <pc:sldMk cId="120730173" sldId="286"/>
            <ac:picMk id="3" creationId="{C7EF5681-5E16-6F46-5969-D7C0010C8F9E}"/>
          </ac:picMkLst>
        </pc:picChg>
        <pc:picChg chg="mod">
          <ac:chgData name="Lara Cruz" userId="b0f71b28-16e3-44a7-b9d4-cbd6d38f3b0b" providerId="ADAL" clId="{B101B667-BF26-431E-9872-DE58BF1D877B}" dt="2023-05-25T12:47:43.380" v="673"/>
          <ac:picMkLst>
            <pc:docMk/>
            <pc:sldMk cId="120730173" sldId="286"/>
            <ac:picMk id="4" creationId="{E951BAD0-A666-9428-9635-78AF81AE85C1}"/>
          </ac:picMkLst>
        </pc:picChg>
        <pc:picChg chg="mod">
          <ac:chgData name="Lara Cruz" userId="b0f71b28-16e3-44a7-b9d4-cbd6d38f3b0b" providerId="ADAL" clId="{B101B667-BF26-431E-9872-DE58BF1D877B}" dt="2023-05-25T12:47:43.380" v="673"/>
          <ac:picMkLst>
            <pc:docMk/>
            <pc:sldMk cId="120730173" sldId="286"/>
            <ac:picMk id="5" creationId="{05A363DC-7F65-78ED-897C-39946C44F15F}"/>
          </ac:picMkLst>
        </pc:picChg>
        <pc:picChg chg="mod">
          <ac:chgData name="Lara Cruz" userId="b0f71b28-16e3-44a7-b9d4-cbd6d38f3b0b" providerId="ADAL" clId="{B101B667-BF26-431E-9872-DE58BF1D877B}" dt="2023-05-25T12:47:43.380" v="673"/>
          <ac:picMkLst>
            <pc:docMk/>
            <pc:sldMk cId="120730173" sldId="286"/>
            <ac:picMk id="6" creationId="{9003EA3D-3856-B1F7-53C1-0A5AB36CE151}"/>
          </ac:picMkLst>
        </pc:picChg>
        <pc:picChg chg="mod">
          <ac:chgData name="Lara Cruz" userId="b0f71b28-16e3-44a7-b9d4-cbd6d38f3b0b" providerId="ADAL" clId="{B101B667-BF26-431E-9872-DE58BF1D877B}" dt="2023-05-25T12:47:43.380" v="673"/>
          <ac:picMkLst>
            <pc:docMk/>
            <pc:sldMk cId="120730173" sldId="286"/>
            <ac:picMk id="7" creationId="{42F14443-702E-5800-8EE7-2FB78A9A0459}"/>
          </ac:picMkLst>
        </pc:picChg>
        <pc:picChg chg="mod">
          <ac:chgData name="Lara Cruz" userId="b0f71b28-16e3-44a7-b9d4-cbd6d38f3b0b" providerId="ADAL" clId="{B101B667-BF26-431E-9872-DE58BF1D877B}" dt="2023-05-25T12:47:43.380" v="673"/>
          <ac:picMkLst>
            <pc:docMk/>
            <pc:sldMk cId="120730173" sldId="286"/>
            <ac:picMk id="8" creationId="{39CAD43C-BD91-E5DE-FCB3-774AAFE7F379}"/>
          </ac:picMkLst>
        </pc:picChg>
        <pc:picChg chg="mod">
          <ac:chgData name="Lara Cruz" userId="b0f71b28-16e3-44a7-b9d4-cbd6d38f3b0b" providerId="ADAL" clId="{B101B667-BF26-431E-9872-DE58BF1D877B}" dt="2023-05-25T12:47:43.380" v="673"/>
          <ac:picMkLst>
            <pc:docMk/>
            <pc:sldMk cId="120730173" sldId="286"/>
            <ac:picMk id="9" creationId="{5FABD569-C0F8-F19B-D7C3-933CA6D7ECEF}"/>
          </ac:picMkLst>
        </pc:picChg>
        <pc:picChg chg="mod">
          <ac:chgData name="Lara Cruz" userId="b0f71b28-16e3-44a7-b9d4-cbd6d38f3b0b" providerId="ADAL" clId="{B101B667-BF26-431E-9872-DE58BF1D877B}" dt="2023-05-25T12:47:43.380" v="673"/>
          <ac:picMkLst>
            <pc:docMk/>
            <pc:sldMk cId="120730173" sldId="286"/>
            <ac:picMk id="10" creationId="{59451C7A-7A58-DA91-AB82-B6152A041448}"/>
          </ac:picMkLst>
        </pc:picChg>
        <pc:picChg chg="mod">
          <ac:chgData name="Lara Cruz" userId="b0f71b28-16e3-44a7-b9d4-cbd6d38f3b0b" providerId="ADAL" clId="{B101B667-BF26-431E-9872-DE58BF1D877B}" dt="2023-05-25T12:47:43.380" v="673"/>
          <ac:picMkLst>
            <pc:docMk/>
            <pc:sldMk cId="120730173" sldId="286"/>
            <ac:picMk id="11" creationId="{69172AD0-7AA1-CDA4-5E34-542735736028}"/>
          </ac:picMkLst>
        </pc:picChg>
        <pc:picChg chg="mod">
          <ac:chgData name="Lara Cruz" userId="b0f71b28-16e3-44a7-b9d4-cbd6d38f3b0b" providerId="ADAL" clId="{B101B667-BF26-431E-9872-DE58BF1D877B}" dt="2023-05-25T12:47:43.380" v="673"/>
          <ac:picMkLst>
            <pc:docMk/>
            <pc:sldMk cId="120730173" sldId="286"/>
            <ac:picMk id="12" creationId="{99131594-1C4C-07DB-0AC1-FA5DB43FE0FA}"/>
          </ac:picMkLst>
        </pc:picChg>
        <pc:picChg chg="mod">
          <ac:chgData name="Lara Cruz" userId="b0f71b28-16e3-44a7-b9d4-cbd6d38f3b0b" providerId="ADAL" clId="{B101B667-BF26-431E-9872-DE58BF1D877B}" dt="2023-05-25T12:47:43.380" v="673"/>
          <ac:picMkLst>
            <pc:docMk/>
            <pc:sldMk cId="120730173" sldId="286"/>
            <ac:picMk id="13" creationId="{675FA16E-5517-3DC8-A7C1-CC0226C20544}"/>
          </ac:picMkLst>
        </pc:picChg>
        <pc:picChg chg="mod">
          <ac:chgData name="Lara Cruz" userId="b0f71b28-16e3-44a7-b9d4-cbd6d38f3b0b" providerId="ADAL" clId="{B101B667-BF26-431E-9872-DE58BF1D877B}" dt="2023-05-25T12:47:43.380" v="673"/>
          <ac:picMkLst>
            <pc:docMk/>
            <pc:sldMk cId="120730173" sldId="286"/>
            <ac:picMk id="14" creationId="{7BC42827-2244-69E5-8A4B-49393DDB482B}"/>
          </ac:picMkLst>
        </pc:picChg>
        <pc:picChg chg="mod">
          <ac:chgData name="Lara Cruz" userId="b0f71b28-16e3-44a7-b9d4-cbd6d38f3b0b" providerId="ADAL" clId="{B101B667-BF26-431E-9872-DE58BF1D877B}" dt="2023-05-25T12:47:43.380" v="673"/>
          <ac:picMkLst>
            <pc:docMk/>
            <pc:sldMk cId="120730173" sldId="286"/>
            <ac:picMk id="15" creationId="{47F51498-9BB0-60C2-B36D-E160B1474C12}"/>
          </ac:picMkLst>
        </pc:picChg>
      </pc:sldChg>
      <pc:sldChg chg="del">
        <pc:chgData name="Lara Cruz" userId="b0f71b28-16e3-44a7-b9d4-cbd6d38f3b0b" providerId="ADAL" clId="{B101B667-BF26-431E-9872-DE58BF1D877B}" dt="2023-04-28T09:03:29.470" v="73" actId="47"/>
        <pc:sldMkLst>
          <pc:docMk/>
          <pc:sldMk cId="1957505237" sldId="287"/>
        </pc:sldMkLst>
      </pc:sldChg>
      <pc:sldChg chg="addSp delSp modSp mod">
        <pc:chgData name="Lara Cruz" userId="b0f71b28-16e3-44a7-b9d4-cbd6d38f3b0b" providerId="ADAL" clId="{B101B667-BF26-431E-9872-DE58BF1D877B}" dt="2023-06-13T15:36:41.461" v="1592" actId="1076"/>
        <pc:sldMkLst>
          <pc:docMk/>
          <pc:sldMk cId="824739939" sldId="288"/>
        </pc:sldMkLst>
        <pc:spChg chg="mod">
          <ac:chgData name="Lara Cruz" userId="b0f71b28-16e3-44a7-b9d4-cbd6d38f3b0b" providerId="ADAL" clId="{B101B667-BF26-431E-9872-DE58BF1D877B}" dt="2023-05-17T15:49:59.170" v="547" actId="14826"/>
          <ac:spMkLst>
            <pc:docMk/>
            <pc:sldMk cId="824739939" sldId="288"/>
            <ac:spMk id="3" creationId="{71DA2796-63A2-45F2-BA29-24BA5E301F44}"/>
          </ac:spMkLst>
        </pc:spChg>
        <pc:spChg chg="del mod">
          <ac:chgData name="Lara Cruz" userId="b0f71b28-16e3-44a7-b9d4-cbd6d38f3b0b" providerId="ADAL" clId="{B101B667-BF26-431E-9872-DE58BF1D877B}" dt="2023-06-06T09:10:43.611" v="775" actId="478"/>
          <ac:spMkLst>
            <pc:docMk/>
            <pc:sldMk cId="824739939" sldId="288"/>
            <ac:spMk id="7" creationId="{BE608B91-E1F9-5202-1965-57A151528AC8}"/>
          </ac:spMkLst>
        </pc:spChg>
        <pc:spChg chg="mod">
          <ac:chgData name="Lara Cruz" userId="b0f71b28-16e3-44a7-b9d4-cbd6d38f3b0b" providerId="ADAL" clId="{B101B667-BF26-431E-9872-DE58BF1D877B}" dt="2023-06-06T09:09:37.468" v="749" actId="14826"/>
          <ac:spMkLst>
            <pc:docMk/>
            <pc:sldMk cId="824739939" sldId="288"/>
            <ac:spMk id="8" creationId="{2E3DE34E-FD04-AF7B-A842-C650E29F40A6}"/>
          </ac:spMkLst>
        </pc:spChg>
        <pc:spChg chg="mod">
          <ac:chgData name="Lara Cruz" userId="b0f71b28-16e3-44a7-b9d4-cbd6d38f3b0b" providerId="ADAL" clId="{B101B667-BF26-431E-9872-DE58BF1D877B}" dt="2023-06-06T09:09:37.468" v="749" actId="14826"/>
          <ac:spMkLst>
            <pc:docMk/>
            <pc:sldMk cId="824739939" sldId="288"/>
            <ac:spMk id="9" creationId="{81FA5E2C-FCE8-0D1D-665E-94C10CBAFC76}"/>
          </ac:spMkLst>
        </pc:spChg>
        <pc:spChg chg="del mod topLvl">
          <ac:chgData name="Lara Cruz" userId="b0f71b28-16e3-44a7-b9d4-cbd6d38f3b0b" providerId="ADAL" clId="{B101B667-BF26-431E-9872-DE58BF1D877B}" dt="2023-06-06T09:10:43.611" v="775" actId="478"/>
          <ac:spMkLst>
            <pc:docMk/>
            <pc:sldMk cId="824739939" sldId="288"/>
            <ac:spMk id="12" creationId="{E01AE70E-97E5-1343-D8F9-C314F1AB53B1}"/>
          </ac:spMkLst>
        </pc:spChg>
        <pc:spChg chg="mod">
          <ac:chgData name="Lara Cruz" userId="b0f71b28-16e3-44a7-b9d4-cbd6d38f3b0b" providerId="ADAL" clId="{B101B667-BF26-431E-9872-DE58BF1D877B}" dt="2023-06-06T09:10:38.537" v="774" actId="14826"/>
          <ac:spMkLst>
            <pc:docMk/>
            <pc:sldMk cId="824739939" sldId="288"/>
            <ac:spMk id="14" creationId="{216470CD-F661-AEF3-C1C9-97D75D763106}"/>
          </ac:spMkLst>
        </pc:spChg>
        <pc:spChg chg="mod">
          <ac:chgData name="Lara Cruz" userId="b0f71b28-16e3-44a7-b9d4-cbd6d38f3b0b" providerId="ADAL" clId="{B101B667-BF26-431E-9872-DE58BF1D877B}" dt="2023-06-06T09:10:38.537" v="774" actId="14826"/>
          <ac:spMkLst>
            <pc:docMk/>
            <pc:sldMk cId="824739939" sldId="288"/>
            <ac:spMk id="15" creationId="{904A0AD3-1A7A-13A4-D6DD-95F6C32949FA}"/>
          </ac:spMkLst>
        </pc:spChg>
        <pc:spChg chg="mod">
          <ac:chgData name="Lara Cruz" userId="b0f71b28-16e3-44a7-b9d4-cbd6d38f3b0b" providerId="ADAL" clId="{B101B667-BF26-431E-9872-DE58BF1D877B}" dt="2023-06-06T09:11:13.336" v="778" actId="1076"/>
          <ac:spMkLst>
            <pc:docMk/>
            <pc:sldMk cId="824739939" sldId="288"/>
            <ac:spMk id="17" creationId="{AC1603E2-7225-D631-0A5D-4EF9652B2B0C}"/>
          </ac:spMkLst>
        </pc:spChg>
        <pc:spChg chg="mod">
          <ac:chgData name="Lara Cruz" userId="b0f71b28-16e3-44a7-b9d4-cbd6d38f3b0b" providerId="ADAL" clId="{B101B667-BF26-431E-9872-DE58BF1D877B}" dt="2023-05-02T13:39:19.218" v="524" actId="1076"/>
          <ac:spMkLst>
            <pc:docMk/>
            <pc:sldMk cId="824739939" sldId="288"/>
            <ac:spMk id="20" creationId="{01A05EAE-9924-A096-762A-25AD3271E03A}"/>
          </ac:spMkLst>
        </pc:spChg>
        <pc:spChg chg="mod">
          <ac:chgData name="Lara Cruz" userId="b0f71b28-16e3-44a7-b9d4-cbd6d38f3b0b" providerId="ADAL" clId="{B101B667-BF26-431E-9872-DE58BF1D877B}" dt="2023-06-08T14:54:17.813" v="1575" actId="1076"/>
          <ac:spMkLst>
            <pc:docMk/>
            <pc:sldMk cId="824739939" sldId="288"/>
            <ac:spMk id="25" creationId="{DB19D8FE-B649-8745-B5DA-03209BD04D6F}"/>
          </ac:spMkLst>
        </pc:spChg>
        <pc:spChg chg="mod">
          <ac:chgData name="Lara Cruz" userId="b0f71b28-16e3-44a7-b9d4-cbd6d38f3b0b" providerId="ADAL" clId="{B101B667-BF26-431E-9872-DE58BF1D877B}" dt="2023-06-06T09:09:11.796" v="745" actId="1076"/>
          <ac:spMkLst>
            <pc:docMk/>
            <pc:sldMk cId="824739939" sldId="288"/>
            <ac:spMk id="34" creationId="{724CFC56-AE5C-448B-9F72-F57F297529F4}"/>
          </ac:spMkLst>
        </pc:spChg>
        <pc:grpChg chg="del mod">
          <ac:chgData name="Lara Cruz" userId="b0f71b28-16e3-44a7-b9d4-cbd6d38f3b0b" providerId="ADAL" clId="{B101B667-BF26-431E-9872-DE58BF1D877B}" dt="2023-06-06T09:09:53.781" v="751" actId="478"/>
          <ac:grpSpMkLst>
            <pc:docMk/>
            <pc:sldMk cId="824739939" sldId="288"/>
            <ac:grpSpMk id="5" creationId="{36CF1129-B85E-9C0C-C8ED-3F2FBFCCA473}"/>
          </ac:grpSpMkLst>
        </pc:grpChg>
        <pc:grpChg chg="add mod">
          <ac:chgData name="Lara Cruz" userId="b0f71b28-16e3-44a7-b9d4-cbd6d38f3b0b" providerId="ADAL" clId="{B101B667-BF26-431E-9872-DE58BF1D877B}" dt="2023-06-13T15:36:41.461" v="1592" actId="1076"/>
          <ac:grpSpMkLst>
            <pc:docMk/>
            <pc:sldMk cId="824739939" sldId="288"/>
            <ac:grpSpMk id="6" creationId="{8D910B85-2BBA-B52F-CF20-03E3206B260D}"/>
          </ac:grpSpMkLst>
        </pc:grpChg>
        <pc:grpChg chg="add mod">
          <ac:chgData name="Lara Cruz" userId="b0f71b28-16e3-44a7-b9d4-cbd6d38f3b0b" providerId="ADAL" clId="{B101B667-BF26-431E-9872-DE58BF1D877B}" dt="2023-06-13T15:36:36.045" v="1591" actId="1076"/>
          <ac:grpSpMkLst>
            <pc:docMk/>
            <pc:sldMk cId="824739939" sldId="288"/>
            <ac:grpSpMk id="13" creationId="{A27830FD-0708-39BE-989E-AC6222ACFA72}"/>
          </ac:grpSpMkLst>
        </pc:grpChg>
        <pc:grpChg chg="del mod">
          <ac:chgData name="Lara Cruz" userId="b0f71b28-16e3-44a7-b9d4-cbd6d38f3b0b" providerId="ADAL" clId="{B101B667-BF26-431E-9872-DE58BF1D877B}" dt="2023-06-06T09:04:54.121" v="724" actId="478"/>
          <ac:grpSpMkLst>
            <pc:docMk/>
            <pc:sldMk cId="824739939" sldId="288"/>
            <ac:grpSpMk id="16" creationId="{ED012F06-FF46-2696-EDD2-1B69DC496622}"/>
          </ac:grpSpMkLst>
        </pc:grpChg>
        <pc:picChg chg="add del mod">
          <ac:chgData name="Lara Cruz" userId="b0f71b28-16e3-44a7-b9d4-cbd6d38f3b0b" providerId="ADAL" clId="{B101B667-BF26-431E-9872-DE58BF1D877B}" dt="2023-06-06T09:10:43.611" v="775" actId="478"/>
          <ac:picMkLst>
            <pc:docMk/>
            <pc:sldMk cId="824739939" sldId="288"/>
            <ac:picMk id="2" creationId="{8331F8CA-750F-EFCC-89AD-12F42991CB37}"/>
          </ac:picMkLst>
        </pc:picChg>
        <pc:picChg chg="mod">
          <ac:chgData name="Lara Cruz" userId="b0f71b28-16e3-44a7-b9d4-cbd6d38f3b0b" providerId="ADAL" clId="{B101B667-BF26-431E-9872-DE58BF1D877B}" dt="2023-06-06T09:09:47.760" v="750" actId="688"/>
          <ac:picMkLst>
            <pc:docMk/>
            <pc:sldMk cId="824739939" sldId="288"/>
            <ac:picMk id="10" creationId="{168EF2D5-0B86-F8CC-E585-802A2E4CA0F9}"/>
          </ac:picMkLst>
        </pc:picChg>
        <pc:picChg chg="del mod topLvl">
          <ac:chgData name="Lara Cruz" userId="b0f71b28-16e3-44a7-b9d4-cbd6d38f3b0b" providerId="ADAL" clId="{B101B667-BF26-431E-9872-DE58BF1D877B}" dt="2023-06-06T09:04:54.121" v="724" actId="478"/>
          <ac:picMkLst>
            <pc:docMk/>
            <pc:sldMk cId="824739939" sldId="288"/>
            <ac:picMk id="11" creationId="{8E89BE0E-C03B-3D48-0210-08452D43FC17}"/>
          </ac:picMkLst>
        </pc:picChg>
        <pc:picChg chg="mod">
          <ac:chgData name="Lara Cruz" userId="b0f71b28-16e3-44a7-b9d4-cbd6d38f3b0b" providerId="ADAL" clId="{B101B667-BF26-431E-9872-DE58BF1D877B}" dt="2023-04-28T09:10:00.176" v="146" actId="14826"/>
          <ac:picMkLst>
            <pc:docMk/>
            <pc:sldMk cId="824739939" sldId="288"/>
            <ac:picMk id="15" creationId="{1823DEA9-DC2E-2912-368A-2770542CBF6F}"/>
          </ac:picMkLst>
        </pc:picChg>
        <pc:picChg chg="mod">
          <ac:chgData name="Lara Cruz" userId="b0f71b28-16e3-44a7-b9d4-cbd6d38f3b0b" providerId="ADAL" clId="{B101B667-BF26-431E-9872-DE58BF1D877B}" dt="2023-06-06T09:10:38.537" v="774" actId="14826"/>
          <ac:picMkLst>
            <pc:docMk/>
            <pc:sldMk cId="824739939" sldId="288"/>
            <ac:picMk id="18" creationId="{D9E11E2D-C3DC-5758-AB54-71B66890D6C1}"/>
          </ac:picMkLst>
        </pc:picChg>
        <pc:picChg chg="mod modCrop">
          <ac:chgData name="Lara Cruz" userId="b0f71b28-16e3-44a7-b9d4-cbd6d38f3b0b" providerId="ADAL" clId="{B101B667-BF26-431E-9872-DE58BF1D877B}" dt="2023-05-17T15:50:19.733" v="550" actId="18131"/>
          <ac:picMkLst>
            <pc:docMk/>
            <pc:sldMk cId="824739939" sldId="288"/>
            <ac:picMk id="39" creationId="{9394F1C0-2AA8-429C-A5AB-6D6E9A636301}"/>
          </ac:picMkLst>
        </pc:picChg>
        <pc:cxnChg chg="mod">
          <ac:chgData name="Lara Cruz" userId="b0f71b28-16e3-44a7-b9d4-cbd6d38f3b0b" providerId="ADAL" clId="{B101B667-BF26-431E-9872-DE58BF1D877B}" dt="2023-06-08T14:42:36.682" v="1570" actId="12788"/>
          <ac:cxnSpMkLst>
            <pc:docMk/>
            <pc:sldMk cId="824739939" sldId="288"/>
            <ac:cxnSpMk id="23" creationId="{EB2D47C8-B163-4B3B-BC37-222578A82313}"/>
          </ac:cxnSpMkLst>
        </pc:cxnChg>
      </pc:sldChg>
      <pc:sldChg chg="addSp delSp modSp add mod">
        <pc:chgData name="Lara Cruz" userId="b0f71b28-16e3-44a7-b9d4-cbd6d38f3b0b" providerId="ADAL" clId="{B101B667-BF26-431E-9872-DE58BF1D877B}" dt="2023-06-08T14:54:29.470" v="1580" actId="20577"/>
        <pc:sldMkLst>
          <pc:docMk/>
          <pc:sldMk cId="2385738458" sldId="289"/>
        </pc:sldMkLst>
        <pc:spChg chg="mod">
          <ac:chgData name="Lara Cruz" userId="b0f71b28-16e3-44a7-b9d4-cbd6d38f3b0b" providerId="ADAL" clId="{B101B667-BF26-431E-9872-DE58BF1D877B}" dt="2023-05-17T15:51:50.805" v="629" actId="14826"/>
          <ac:spMkLst>
            <pc:docMk/>
            <pc:sldMk cId="2385738458" sldId="289"/>
            <ac:spMk id="3" creationId="{71DA2796-63A2-45F2-BA29-24BA5E301F44}"/>
          </ac:spMkLst>
        </pc:spChg>
        <pc:spChg chg="mod">
          <ac:chgData name="Lara Cruz" userId="b0f71b28-16e3-44a7-b9d4-cbd6d38f3b0b" providerId="ADAL" clId="{B101B667-BF26-431E-9872-DE58BF1D877B}" dt="2023-06-06T09:12:04.733" v="812" actId="14826"/>
          <ac:spMkLst>
            <pc:docMk/>
            <pc:sldMk cId="2385738458" sldId="289"/>
            <ac:spMk id="6" creationId="{1F7E9F6C-9EBE-72DF-9DE1-A1A9A9038BB3}"/>
          </ac:spMkLst>
        </pc:spChg>
        <pc:spChg chg="mod">
          <ac:chgData name="Lara Cruz" userId="b0f71b28-16e3-44a7-b9d4-cbd6d38f3b0b" providerId="ADAL" clId="{B101B667-BF26-431E-9872-DE58BF1D877B}" dt="2023-06-08T14:41:52.404" v="1563" actId="14100"/>
          <ac:spMkLst>
            <pc:docMk/>
            <pc:sldMk cId="2385738458" sldId="289"/>
            <ac:spMk id="7" creationId="{F4D43090-EF5E-6760-16E5-2D1A1EB4B14B}"/>
          </ac:spMkLst>
        </pc:spChg>
        <pc:spChg chg="mod topLvl">
          <ac:chgData name="Lara Cruz" userId="b0f71b28-16e3-44a7-b9d4-cbd6d38f3b0b" providerId="ADAL" clId="{B101B667-BF26-431E-9872-DE58BF1D877B}" dt="2023-06-08T14:42:06.242" v="1566" actId="1076"/>
          <ac:spMkLst>
            <pc:docMk/>
            <pc:sldMk cId="2385738458" sldId="289"/>
            <ac:spMk id="14" creationId="{27C6D366-ED4D-AF91-E26B-37FF441F8BB2}"/>
          </ac:spMkLst>
        </pc:spChg>
        <pc:spChg chg="mod">
          <ac:chgData name="Lara Cruz" userId="b0f71b28-16e3-44a7-b9d4-cbd6d38f3b0b" providerId="ADAL" clId="{B101B667-BF26-431E-9872-DE58BF1D877B}" dt="2023-06-08T14:42:09.091" v="1567" actId="20577"/>
          <ac:spMkLst>
            <pc:docMk/>
            <pc:sldMk cId="2385738458" sldId="289"/>
            <ac:spMk id="17" creationId="{AC1603E2-7225-D631-0A5D-4EF9652B2B0C}"/>
          </ac:spMkLst>
        </pc:spChg>
        <pc:spChg chg="mod">
          <ac:chgData name="Lara Cruz" userId="b0f71b28-16e3-44a7-b9d4-cbd6d38f3b0b" providerId="ADAL" clId="{B101B667-BF26-431E-9872-DE58BF1D877B}" dt="2023-05-02T13:39:49.232" v="528" actId="1076"/>
          <ac:spMkLst>
            <pc:docMk/>
            <pc:sldMk cId="2385738458" sldId="289"/>
            <ac:spMk id="20" creationId="{01A05EAE-9924-A096-762A-25AD3271E03A}"/>
          </ac:spMkLst>
        </pc:spChg>
        <pc:spChg chg="mod">
          <ac:chgData name="Lara Cruz" userId="b0f71b28-16e3-44a7-b9d4-cbd6d38f3b0b" providerId="ADAL" clId="{B101B667-BF26-431E-9872-DE58BF1D877B}" dt="2023-06-08T14:54:29.470" v="1580" actId="20577"/>
          <ac:spMkLst>
            <pc:docMk/>
            <pc:sldMk cId="2385738458" sldId="289"/>
            <ac:spMk id="25" creationId="{DB19D8FE-B649-8745-B5DA-03209BD04D6F}"/>
          </ac:spMkLst>
        </pc:spChg>
        <pc:spChg chg="mod">
          <ac:chgData name="Lara Cruz" userId="b0f71b28-16e3-44a7-b9d4-cbd6d38f3b0b" providerId="ADAL" clId="{B101B667-BF26-431E-9872-DE58BF1D877B}" dt="2023-05-17T15:53:26.107" v="671" actId="20577"/>
          <ac:spMkLst>
            <pc:docMk/>
            <pc:sldMk cId="2385738458" sldId="289"/>
            <ac:spMk id="34" creationId="{724CFC56-AE5C-448B-9F72-F57F297529F4}"/>
          </ac:spMkLst>
        </pc:spChg>
        <pc:grpChg chg="add mod">
          <ac:chgData name="Lara Cruz" userId="b0f71b28-16e3-44a7-b9d4-cbd6d38f3b0b" providerId="ADAL" clId="{B101B667-BF26-431E-9872-DE58BF1D877B}" dt="2023-06-08T14:41:58.075" v="1564" actId="1076"/>
          <ac:grpSpMkLst>
            <pc:docMk/>
            <pc:sldMk cId="2385738458" sldId="289"/>
            <ac:grpSpMk id="2" creationId="{DAF01CB8-A003-F5C8-08B8-65AAF74B58BE}"/>
          </ac:grpSpMkLst>
        </pc:grpChg>
        <pc:grpChg chg="del mod">
          <ac:chgData name="Lara Cruz" userId="b0f71b28-16e3-44a7-b9d4-cbd6d38f3b0b" providerId="ADAL" clId="{B101B667-BF26-431E-9872-DE58BF1D877B}" dt="2023-06-06T09:12:22.363" v="814" actId="478"/>
          <ac:grpSpMkLst>
            <pc:docMk/>
            <pc:sldMk cId="2385738458" sldId="289"/>
            <ac:grpSpMk id="5" creationId="{36CF1129-B85E-9C0C-C8ED-3F2FBFCCA473}"/>
          </ac:grpSpMkLst>
        </pc:grpChg>
        <pc:grpChg chg="add del mod">
          <ac:chgData name="Lara Cruz" userId="b0f71b28-16e3-44a7-b9d4-cbd6d38f3b0b" providerId="ADAL" clId="{B101B667-BF26-431E-9872-DE58BF1D877B}" dt="2023-06-08T14:40:40.342" v="1550" actId="478"/>
          <ac:grpSpMkLst>
            <pc:docMk/>
            <pc:sldMk cId="2385738458" sldId="289"/>
            <ac:grpSpMk id="9" creationId="{A48F1871-6EA4-1F80-1252-ED0C7B276273}"/>
          </ac:grpSpMkLst>
        </pc:grpChg>
        <pc:grpChg chg="del">
          <ac:chgData name="Lara Cruz" userId="b0f71b28-16e3-44a7-b9d4-cbd6d38f3b0b" providerId="ADAL" clId="{B101B667-BF26-431E-9872-DE58BF1D877B}" dt="2023-06-06T09:12:37.976" v="815" actId="478"/>
          <ac:grpSpMkLst>
            <pc:docMk/>
            <pc:sldMk cId="2385738458" sldId="289"/>
            <ac:grpSpMk id="16" creationId="{ED012F06-FF46-2696-EDD2-1B69DC496622}"/>
          </ac:grpSpMkLst>
        </pc:grpChg>
        <pc:grpChg chg="add mod">
          <ac:chgData name="Lara Cruz" userId="b0f71b28-16e3-44a7-b9d4-cbd6d38f3b0b" providerId="ADAL" clId="{B101B667-BF26-431E-9872-DE58BF1D877B}" dt="2023-06-08T14:41:35.361" v="1559" actId="1076"/>
          <ac:grpSpMkLst>
            <pc:docMk/>
            <pc:sldMk cId="2385738458" sldId="289"/>
            <ac:grpSpMk id="24" creationId="{C3EFA7C1-3B39-D988-3734-9F87319161F9}"/>
          </ac:grpSpMkLst>
        </pc:grpChg>
        <pc:picChg chg="mod modCrop">
          <ac:chgData name="Lara Cruz" userId="b0f71b28-16e3-44a7-b9d4-cbd6d38f3b0b" providerId="ADAL" clId="{B101B667-BF26-431E-9872-DE58BF1D877B}" dt="2023-06-08T14:41:47.652" v="1562" actId="14100"/>
          <ac:picMkLst>
            <pc:docMk/>
            <pc:sldMk cId="2385738458" sldId="289"/>
            <ac:picMk id="8" creationId="{523D0ABE-A57F-E9A8-A3DB-28B0837FE619}"/>
          </ac:picMkLst>
        </pc:picChg>
        <pc:picChg chg="del mod topLvl">
          <ac:chgData name="Lara Cruz" userId="b0f71b28-16e3-44a7-b9d4-cbd6d38f3b0b" providerId="ADAL" clId="{B101B667-BF26-431E-9872-DE58BF1D877B}" dt="2023-06-08T14:40:40.342" v="1550" actId="478"/>
          <ac:picMkLst>
            <pc:docMk/>
            <pc:sldMk cId="2385738458" sldId="289"/>
            <ac:picMk id="10" creationId="{5653CF79-B129-0E22-45FA-F4CC8B2C6137}"/>
          </ac:picMkLst>
        </pc:picChg>
        <pc:picChg chg="del mod">
          <ac:chgData name="Lara Cruz" userId="b0f71b28-16e3-44a7-b9d4-cbd6d38f3b0b" providerId="ADAL" clId="{B101B667-BF26-431E-9872-DE58BF1D877B}" dt="2023-06-06T09:26:15.294" v="963" actId="478"/>
          <ac:picMkLst>
            <pc:docMk/>
            <pc:sldMk cId="2385738458" sldId="289"/>
            <ac:picMk id="13" creationId="{C940B3C6-07D9-24CC-CF64-F711E0B7A9F6}"/>
          </ac:picMkLst>
        </pc:picChg>
        <pc:picChg chg="add mod">
          <ac:chgData name="Lara Cruz" userId="b0f71b28-16e3-44a7-b9d4-cbd6d38f3b0b" providerId="ADAL" clId="{B101B667-BF26-431E-9872-DE58BF1D877B}" dt="2023-06-06T09:26:24.917" v="966" actId="1076"/>
          <ac:picMkLst>
            <pc:docMk/>
            <pc:sldMk cId="2385738458" sldId="289"/>
            <ac:picMk id="21" creationId="{2CA6E5B4-7833-4D21-9F5C-782BCC71B59B}"/>
          </ac:picMkLst>
        </pc:picChg>
        <pc:picChg chg="del">
          <ac:chgData name="Lara Cruz" userId="b0f71b28-16e3-44a7-b9d4-cbd6d38f3b0b" providerId="ADAL" clId="{B101B667-BF26-431E-9872-DE58BF1D877B}" dt="2023-06-08T14:40:36.249" v="1548" actId="478"/>
          <ac:picMkLst>
            <pc:docMk/>
            <pc:sldMk cId="2385738458" sldId="289"/>
            <ac:picMk id="22" creationId="{12E3D079-A3AE-8B95-98B8-21F98E300BF1}"/>
          </ac:picMkLst>
        </pc:picChg>
        <pc:picChg chg="mod">
          <ac:chgData name="Lara Cruz" userId="b0f71b28-16e3-44a7-b9d4-cbd6d38f3b0b" providerId="ADAL" clId="{B101B667-BF26-431E-9872-DE58BF1D877B}" dt="2023-06-08T14:41:29.588" v="1557" actId="14100"/>
          <ac:picMkLst>
            <pc:docMk/>
            <pc:sldMk cId="2385738458" sldId="289"/>
            <ac:picMk id="26" creationId="{A6C07380-2564-A8F8-AF9D-1D7137AC05B8}"/>
          </ac:picMkLst>
        </pc:picChg>
        <pc:picChg chg="mod">
          <ac:chgData name="Lara Cruz" userId="b0f71b28-16e3-44a7-b9d4-cbd6d38f3b0b" providerId="ADAL" clId="{B101B667-BF26-431E-9872-DE58BF1D877B}" dt="2023-06-08T14:42:18.801" v="1568" actId="1076"/>
          <ac:picMkLst>
            <pc:docMk/>
            <pc:sldMk cId="2385738458" sldId="289"/>
            <ac:picMk id="27" creationId="{3AC1A213-5A95-FAB9-1C6E-8BDCA0C49EEA}"/>
          </ac:picMkLst>
        </pc:picChg>
        <pc:picChg chg="mod modCrop">
          <ac:chgData name="Lara Cruz" userId="b0f71b28-16e3-44a7-b9d4-cbd6d38f3b0b" providerId="ADAL" clId="{B101B667-BF26-431E-9872-DE58BF1D877B}" dt="2023-05-17T15:51:59.735" v="630" actId="18131"/>
          <ac:picMkLst>
            <pc:docMk/>
            <pc:sldMk cId="2385738458" sldId="289"/>
            <ac:picMk id="39" creationId="{9394F1C0-2AA8-429C-A5AB-6D6E9A636301}"/>
          </ac:picMkLst>
        </pc:picChg>
      </pc:sldChg>
      <pc:sldChg chg="addSp delSp modSp add mod">
        <pc:chgData name="Lara Cruz" userId="b0f71b28-16e3-44a7-b9d4-cbd6d38f3b0b" providerId="ADAL" clId="{B101B667-BF26-431E-9872-DE58BF1D877B}" dt="2023-06-08T14:54:42.469" v="1586" actId="20577"/>
        <pc:sldMkLst>
          <pc:docMk/>
          <pc:sldMk cId="2869463670" sldId="290"/>
        </pc:sldMkLst>
        <pc:spChg chg="del mod">
          <ac:chgData name="Lara Cruz" userId="b0f71b28-16e3-44a7-b9d4-cbd6d38f3b0b" providerId="ADAL" clId="{B101B667-BF26-431E-9872-DE58BF1D877B}" dt="2023-06-06T09:14:34.899" v="870" actId="478"/>
          <ac:spMkLst>
            <pc:docMk/>
            <pc:sldMk cId="2869463670" sldId="290"/>
            <ac:spMk id="3" creationId="{71DA2796-63A2-45F2-BA29-24BA5E301F44}"/>
          </ac:spMkLst>
        </pc:spChg>
        <pc:spChg chg="del mod">
          <ac:chgData name="Lara Cruz" userId="b0f71b28-16e3-44a7-b9d4-cbd6d38f3b0b" providerId="ADAL" clId="{B101B667-BF26-431E-9872-DE58BF1D877B}" dt="2023-06-06T09:14:40.761" v="874" actId="478"/>
          <ac:spMkLst>
            <pc:docMk/>
            <pc:sldMk cId="2869463670" sldId="290"/>
            <ac:spMk id="5" creationId="{F50C5E2F-269F-FF9D-9472-0CCB24417204}"/>
          </ac:spMkLst>
        </pc:spChg>
        <pc:spChg chg="mod">
          <ac:chgData name="Lara Cruz" userId="b0f71b28-16e3-44a7-b9d4-cbd6d38f3b0b" providerId="ADAL" clId="{B101B667-BF26-431E-9872-DE58BF1D877B}" dt="2023-06-06T09:15:33.103" v="885" actId="14100"/>
          <ac:spMkLst>
            <pc:docMk/>
            <pc:sldMk cId="2869463670" sldId="290"/>
            <ac:spMk id="6" creationId="{F7FBE0CB-3604-77AB-EA8B-AC77429D19A9}"/>
          </ac:spMkLst>
        </pc:spChg>
        <pc:spChg chg="mod">
          <ac:chgData name="Lara Cruz" userId="b0f71b28-16e3-44a7-b9d4-cbd6d38f3b0b" providerId="ADAL" clId="{B101B667-BF26-431E-9872-DE58BF1D877B}" dt="2023-06-06T09:19:32.984" v="898" actId="1076"/>
          <ac:spMkLst>
            <pc:docMk/>
            <pc:sldMk cId="2869463670" sldId="290"/>
            <ac:spMk id="17" creationId="{AC1603E2-7225-D631-0A5D-4EF9652B2B0C}"/>
          </ac:spMkLst>
        </pc:spChg>
        <pc:spChg chg="mod">
          <ac:chgData name="Lara Cruz" userId="b0f71b28-16e3-44a7-b9d4-cbd6d38f3b0b" providerId="ADAL" clId="{B101B667-BF26-431E-9872-DE58BF1D877B}" dt="2023-05-02T13:40:13.625" v="533" actId="1076"/>
          <ac:spMkLst>
            <pc:docMk/>
            <pc:sldMk cId="2869463670" sldId="290"/>
            <ac:spMk id="20" creationId="{01A05EAE-9924-A096-762A-25AD3271E03A}"/>
          </ac:spMkLst>
        </pc:spChg>
        <pc:spChg chg="mod">
          <ac:chgData name="Lara Cruz" userId="b0f71b28-16e3-44a7-b9d4-cbd6d38f3b0b" providerId="ADAL" clId="{B101B667-BF26-431E-9872-DE58BF1D877B}" dt="2023-06-08T14:54:42.469" v="1586" actId="20577"/>
          <ac:spMkLst>
            <pc:docMk/>
            <pc:sldMk cId="2869463670" sldId="290"/>
            <ac:spMk id="25" creationId="{DB19D8FE-B649-8745-B5DA-03209BD04D6F}"/>
          </ac:spMkLst>
        </pc:spChg>
        <pc:spChg chg="mod">
          <ac:chgData name="Lara Cruz" userId="b0f71b28-16e3-44a7-b9d4-cbd6d38f3b0b" providerId="ADAL" clId="{B101B667-BF26-431E-9872-DE58BF1D877B}" dt="2023-06-06T09:19:35.146" v="899" actId="1076"/>
          <ac:spMkLst>
            <pc:docMk/>
            <pc:sldMk cId="2869463670" sldId="290"/>
            <ac:spMk id="34" creationId="{724CFC56-AE5C-448B-9F72-F57F297529F4}"/>
          </ac:spMkLst>
        </pc:spChg>
        <pc:grpChg chg="add mod">
          <ac:chgData name="Lara Cruz" userId="b0f71b28-16e3-44a7-b9d4-cbd6d38f3b0b" providerId="ADAL" clId="{B101B667-BF26-431E-9872-DE58BF1D877B}" dt="2023-06-06T09:16:51.322" v="894" actId="1076"/>
          <ac:grpSpMkLst>
            <pc:docMk/>
            <pc:sldMk cId="2869463670" sldId="290"/>
            <ac:grpSpMk id="2" creationId="{15EBB19C-1B0E-907B-2647-2686565B299C}"/>
          </ac:grpSpMkLst>
        </pc:grpChg>
        <pc:grpChg chg="mod">
          <ac:chgData name="Lara Cruz" userId="b0f71b28-16e3-44a7-b9d4-cbd6d38f3b0b" providerId="ADAL" clId="{B101B667-BF26-431E-9872-DE58BF1D877B}" dt="2023-05-02T14:34:30.861" v="545" actId="14826"/>
          <ac:grpSpMkLst>
            <pc:docMk/>
            <pc:sldMk cId="2869463670" sldId="290"/>
            <ac:grpSpMk id="5" creationId="{36CF1129-B85E-9C0C-C8ED-3F2FBFCCA473}"/>
          </ac:grpSpMkLst>
        </pc:grpChg>
        <pc:picChg chg="mod">
          <ac:chgData name="Lara Cruz" userId="b0f71b28-16e3-44a7-b9d4-cbd6d38f3b0b" providerId="ADAL" clId="{B101B667-BF26-431E-9872-DE58BF1D877B}" dt="2023-06-06T09:15:40.994" v="887" actId="1076"/>
          <ac:picMkLst>
            <pc:docMk/>
            <pc:sldMk cId="2869463670" sldId="290"/>
            <ac:picMk id="7" creationId="{E2313128-1037-5479-D617-B3E90F40577E}"/>
          </ac:picMkLst>
        </pc:picChg>
        <pc:picChg chg="del mod">
          <ac:chgData name="Lara Cruz" userId="b0f71b28-16e3-44a7-b9d4-cbd6d38f3b0b" providerId="ADAL" clId="{B101B667-BF26-431E-9872-DE58BF1D877B}" dt="2023-06-06T09:14:34.899" v="870" actId="478"/>
          <ac:picMkLst>
            <pc:docMk/>
            <pc:sldMk cId="2869463670" sldId="290"/>
            <ac:picMk id="39" creationId="{9394F1C0-2AA8-429C-A5AB-6D6E9A636301}"/>
          </ac:picMkLst>
        </pc:picChg>
      </pc:sldChg>
      <pc:sldChg chg="modSp add del mod">
        <pc:chgData name="Lara Cruz" userId="b0f71b28-16e3-44a7-b9d4-cbd6d38f3b0b" providerId="ADAL" clId="{B101B667-BF26-431E-9872-DE58BF1D877B}" dt="2023-04-28T09:11:46.522" v="278" actId="47"/>
        <pc:sldMkLst>
          <pc:docMk/>
          <pc:sldMk cId="4247622726" sldId="290"/>
        </pc:sldMkLst>
        <pc:spChg chg="mod">
          <ac:chgData name="Lara Cruz" userId="b0f71b28-16e3-44a7-b9d4-cbd6d38f3b0b" providerId="ADAL" clId="{B101B667-BF26-431E-9872-DE58BF1D877B}" dt="2023-04-28T09:11:37.123" v="275" actId="14826"/>
          <ac:spMkLst>
            <pc:docMk/>
            <pc:sldMk cId="4247622726" sldId="290"/>
            <ac:spMk id="12" creationId="{E01AE70E-97E5-1343-D8F9-C314F1AB53B1}"/>
          </ac:spMkLst>
        </pc:spChg>
        <pc:spChg chg="mod">
          <ac:chgData name="Lara Cruz" userId="b0f71b28-16e3-44a7-b9d4-cbd6d38f3b0b" providerId="ADAL" clId="{B101B667-BF26-431E-9872-DE58BF1D877B}" dt="2023-04-28T09:11:38.759" v="277" actId="20577"/>
          <ac:spMkLst>
            <pc:docMk/>
            <pc:sldMk cId="4247622726" sldId="290"/>
            <ac:spMk id="20" creationId="{01A05EAE-9924-A096-762A-25AD3271E03A}"/>
          </ac:spMkLst>
        </pc:spChg>
        <pc:grpChg chg="mod">
          <ac:chgData name="Lara Cruz" userId="b0f71b28-16e3-44a7-b9d4-cbd6d38f3b0b" providerId="ADAL" clId="{B101B667-BF26-431E-9872-DE58BF1D877B}" dt="2023-04-28T09:11:37.123" v="275" actId="14826"/>
          <ac:grpSpMkLst>
            <pc:docMk/>
            <pc:sldMk cId="4247622726" sldId="290"/>
            <ac:grpSpMk id="16" creationId="{ED012F06-FF46-2696-EDD2-1B69DC496622}"/>
          </ac:grpSpMkLst>
        </pc:grpChg>
        <pc:picChg chg="mod">
          <ac:chgData name="Lara Cruz" userId="b0f71b28-16e3-44a7-b9d4-cbd6d38f3b0b" providerId="ADAL" clId="{B101B667-BF26-431E-9872-DE58BF1D877B}" dt="2023-04-28T09:11:37.123" v="275" actId="14826"/>
          <ac:picMkLst>
            <pc:docMk/>
            <pc:sldMk cId="4247622726" sldId="290"/>
            <ac:picMk id="11" creationId="{8E89BE0E-C03B-3D48-0210-08452D43FC17}"/>
          </ac:picMkLst>
        </pc:picChg>
        <pc:picChg chg="mod">
          <ac:chgData name="Lara Cruz" userId="b0f71b28-16e3-44a7-b9d4-cbd6d38f3b0b" providerId="ADAL" clId="{B101B667-BF26-431E-9872-DE58BF1D877B}" dt="2023-04-28T09:11:37.123" v="275" actId="14826"/>
          <ac:picMkLst>
            <pc:docMk/>
            <pc:sldMk cId="4247622726" sldId="290"/>
            <ac:picMk id="15" creationId="{1823DEA9-DC2E-2912-368A-2770542CBF6F}"/>
          </ac:picMkLst>
        </pc:picChg>
      </pc:sldChg>
      <pc:sldChg chg="modSp add del mod">
        <pc:chgData name="Lara Cruz" userId="b0f71b28-16e3-44a7-b9d4-cbd6d38f3b0b" providerId="ADAL" clId="{B101B667-BF26-431E-9872-DE58BF1D877B}" dt="2023-06-06T09:25:55.617" v="961" actId="47"/>
        <pc:sldMkLst>
          <pc:docMk/>
          <pc:sldMk cId="1890534255" sldId="291"/>
        </pc:sldMkLst>
        <pc:spChg chg="mod">
          <ac:chgData name="Lara Cruz" userId="b0f71b28-16e3-44a7-b9d4-cbd6d38f3b0b" providerId="ADAL" clId="{B101B667-BF26-431E-9872-DE58BF1D877B}" dt="2023-05-10T13:58:10.293" v="546" actId="14826"/>
          <ac:spMkLst>
            <pc:docMk/>
            <pc:sldMk cId="1890534255" sldId="291"/>
            <ac:spMk id="3" creationId="{71DA2796-63A2-45F2-BA29-24BA5E301F44}"/>
          </ac:spMkLst>
        </pc:spChg>
        <pc:spChg chg="mod">
          <ac:chgData name="Lara Cruz" userId="b0f71b28-16e3-44a7-b9d4-cbd6d38f3b0b" providerId="ADAL" clId="{B101B667-BF26-431E-9872-DE58BF1D877B}" dt="2023-05-02T13:40:53.833" v="544" actId="1076"/>
          <ac:spMkLst>
            <pc:docMk/>
            <pc:sldMk cId="1890534255" sldId="291"/>
            <ac:spMk id="20" creationId="{01A05EAE-9924-A096-762A-25AD3271E03A}"/>
          </ac:spMkLst>
        </pc:spChg>
        <pc:spChg chg="mod">
          <ac:chgData name="Lara Cruz" userId="b0f71b28-16e3-44a7-b9d4-cbd6d38f3b0b" providerId="ADAL" clId="{B101B667-BF26-431E-9872-DE58BF1D877B}" dt="2023-04-28T09:21:44.643" v="461" actId="1076"/>
          <ac:spMkLst>
            <pc:docMk/>
            <pc:sldMk cId="1890534255" sldId="291"/>
            <ac:spMk id="25" creationId="{DB19D8FE-B649-8745-B5DA-03209BD04D6F}"/>
          </ac:spMkLst>
        </pc:spChg>
        <pc:spChg chg="mod">
          <ac:chgData name="Lara Cruz" userId="b0f71b28-16e3-44a7-b9d4-cbd6d38f3b0b" providerId="ADAL" clId="{B101B667-BF26-431E-9872-DE58BF1D877B}" dt="2023-05-10T13:58:10.293" v="546" actId="14826"/>
          <ac:spMkLst>
            <pc:docMk/>
            <pc:sldMk cId="1890534255" sldId="291"/>
            <ac:spMk id="34" creationId="{724CFC56-AE5C-448B-9F72-F57F297529F4}"/>
          </ac:spMkLst>
        </pc:spChg>
        <pc:grpChg chg="mod">
          <ac:chgData name="Lara Cruz" userId="b0f71b28-16e3-44a7-b9d4-cbd6d38f3b0b" providerId="ADAL" clId="{B101B667-BF26-431E-9872-DE58BF1D877B}" dt="2023-05-10T13:58:10.293" v="546" actId="14826"/>
          <ac:grpSpMkLst>
            <pc:docMk/>
            <pc:sldMk cId="1890534255" sldId="291"/>
            <ac:grpSpMk id="5" creationId="{36CF1129-B85E-9C0C-C8ED-3F2FBFCCA473}"/>
          </ac:grpSpMkLst>
        </pc:grpChg>
        <pc:picChg chg="mod">
          <ac:chgData name="Lara Cruz" userId="b0f71b28-16e3-44a7-b9d4-cbd6d38f3b0b" providerId="ADAL" clId="{B101B667-BF26-431E-9872-DE58BF1D877B}" dt="2023-05-10T13:58:10.293" v="546" actId="14826"/>
          <ac:picMkLst>
            <pc:docMk/>
            <pc:sldMk cId="1890534255" sldId="291"/>
            <ac:picMk id="39" creationId="{9394F1C0-2AA8-429C-A5AB-6D6E9A636301}"/>
          </ac:picMkLst>
        </pc:picChg>
      </pc:sldChg>
      <pc:sldChg chg="new del">
        <pc:chgData name="Lara Cruz" userId="b0f71b28-16e3-44a7-b9d4-cbd6d38f3b0b" providerId="ADAL" clId="{B101B667-BF26-431E-9872-DE58BF1D877B}" dt="2023-05-17T15:51:01.094" v="587" actId="680"/>
        <pc:sldMkLst>
          <pc:docMk/>
          <pc:sldMk cId="2036753279" sldId="292"/>
        </pc:sldMkLst>
      </pc:sldChg>
      <pc:sldChg chg="modSp mod">
        <pc:chgData name="Lara Cruz" userId="b0f71b28-16e3-44a7-b9d4-cbd6d38f3b0b" providerId="ADAL" clId="{B101B667-BF26-431E-9872-DE58BF1D877B}" dt="2023-06-08T14:54:34.050" v="1583" actId="20577"/>
        <pc:sldMkLst>
          <pc:docMk/>
          <pc:sldMk cId="60931730" sldId="294"/>
        </pc:sldMkLst>
        <pc:spChg chg="mod">
          <ac:chgData name="Lara Cruz" userId="b0f71b28-16e3-44a7-b9d4-cbd6d38f3b0b" providerId="ADAL" clId="{B101B667-BF26-431E-9872-DE58BF1D877B}" dt="2023-06-08T14:54:34.050" v="1583" actId="20577"/>
          <ac:spMkLst>
            <pc:docMk/>
            <pc:sldMk cId="60931730" sldId="294"/>
            <ac:spMk id="25" creationId="{DB19D8FE-B649-8745-B5DA-03209BD04D6F}"/>
          </ac:spMkLst>
        </pc:spChg>
      </pc:sldChg>
      <pc:sldChg chg="modSp mod">
        <pc:chgData name="Lara Cruz" userId="b0f71b28-16e3-44a7-b9d4-cbd6d38f3b0b" providerId="ADAL" clId="{B101B667-BF26-431E-9872-DE58BF1D877B}" dt="2023-06-08T14:54:24.513" v="1578" actId="20577"/>
        <pc:sldMkLst>
          <pc:docMk/>
          <pc:sldMk cId="515512297" sldId="296"/>
        </pc:sldMkLst>
        <pc:spChg chg="mod">
          <ac:chgData name="Lara Cruz" userId="b0f71b28-16e3-44a7-b9d4-cbd6d38f3b0b" providerId="ADAL" clId="{B101B667-BF26-431E-9872-DE58BF1D877B}" dt="2023-06-08T14:54:24.513" v="1578" actId="20577"/>
          <ac:spMkLst>
            <pc:docMk/>
            <pc:sldMk cId="515512297" sldId="296"/>
            <ac:spMk id="25" creationId="{DB19D8FE-B649-8745-B5DA-03209BD04D6F}"/>
          </ac:spMkLst>
        </pc:spChg>
      </pc:sldChg>
      <pc:sldChg chg="addSp delSp modSp add mod">
        <pc:chgData name="Lara Cruz" userId="b0f71b28-16e3-44a7-b9d4-cbd6d38f3b0b" providerId="ADAL" clId="{B101B667-BF26-431E-9872-DE58BF1D877B}" dt="2023-06-13T15:38:31.879" v="1602" actId="1076"/>
        <pc:sldMkLst>
          <pc:docMk/>
          <pc:sldMk cId="3955236344" sldId="298"/>
        </pc:sldMkLst>
        <pc:spChg chg="del topLvl">
          <ac:chgData name="Lara Cruz" userId="b0f71b28-16e3-44a7-b9d4-cbd6d38f3b0b" providerId="ADAL" clId="{B101B667-BF26-431E-9872-DE58BF1D877B}" dt="2023-06-06T09:20:48.183" v="901" actId="478"/>
          <ac:spMkLst>
            <pc:docMk/>
            <pc:sldMk cId="3955236344" sldId="298"/>
            <ac:spMk id="3" creationId="{71DA2796-63A2-45F2-BA29-24BA5E301F44}"/>
          </ac:spMkLst>
        </pc:spChg>
        <pc:spChg chg="mod">
          <ac:chgData name="Lara Cruz" userId="b0f71b28-16e3-44a7-b9d4-cbd6d38f3b0b" providerId="ADAL" clId="{B101B667-BF26-431E-9872-DE58BF1D877B}" dt="2023-06-06T09:21:38.702" v="914" actId="14826"/>
          <ac:spMkLst>
            <pc:docMk/>
            <pc:sldMk cId="3955236344" sldId="298"/>
            <ac:spMk id="9" creationId="{095C47EA-BCB2-339A-25EC-5F8F82E86A5D}"/>
          </ac:spMkLst>
        </pc:spChg>
        <pc:spChg chg="topLvl">
          <ac:chgData name="Lara Cruz" userId="b0f71b28-16e3-44a7-b9d4-cbd6d38f3b0b" providerId="ADAL" clId="{B101B667-BF26-431E-9872-DE58BF1D877B}" dt="2023-06-06T09:24:11.502" v="939" actId="478"/>
          <ac:spMkLst>
            <pc:docMk/>
            <pc:sldMk cId="3955236344" sldId="298"/>
            <ac:spMk id="12" creationId="{E01AE70E-97E5-1343-D8F9-C314F1AB53B1}"/>
          </ac:spMkLst>
        </pc:spChg>
        <pc:spChg chg="mod topLvl">
          <ac:chgData name="Lara Cruz" userId="b0f71b28-16e3-44a7-b9d4-cbd6d38f3b0b" providerId="ADAL" clId="{B101B667-BF26-431E-9872-DE58BF1D877B}" dt="2023-06-13T15:37:53.917" v="1596" actId="164"/>
          <ac:spMkLst>
            <pc:docMk/>
            <pc:sldMk cId="3955236344" sldId="298"/>
            <ac:spMk id="21" creationId="{498A9358-E0FA-4A7F-A25F-F2AD1EBF700B}"/>
          </ac:spMkLst>
        </pc:spChg>
        <pc:spChg chg="del mod">
          <ac:chgData name="Lara Cruz" userId="b0f71b28-16e3-44a7-b9d4-cbd6d38f3b0b" providerId="ADAL" clId="{B101B667-BF26-431E-9872-DE58BF1D877B}" dt="2023-06-06T09:21:00.652" v="905" actId="478"/>
          <ac:spMkLst>
            <pc:docMk/>
            <pc:sldMk cId="3955236344" sldId="298"/>
            <ac:spMk id="24" creationId="{5ADA31BF-5C75-1A0B-25C1-5FE5F890C873}"/>
          </ac:spMkLst>
        </pc:spChg>
        <pc:spChg chg="mod">
          <ac:chgData name="Lara Cruz" userId="b0f71b28-16e3-44a7-b9d4-cbd6d38f3b0b" providerId="ADAL" clId="{B101B667-BF26-431E-9872-DE58BF1D877B}" dt="2023-06-08T14:54:47.350" v="1589" actId="20577"/>
          <ac:spMkLst>
            <pc:docMk/>
            <pc:sldMk cId="3955236344" sldId="298"/>
            <ac:spMk id="25" creationId="{DB19D8FE-B649-8745-B5DA-03209BD04D6F}"/>
          </ac:spMkLst>
        </pc:spChg>
        <pc:spChg chg="mod">
          <ac:chgData name="Lara Cruz" userId="b0f71b28-16e3-44a7-b9d4-cbd6d38f3b0b" providerId="ADAL" clId="{B101B667-BF26-431E-9872-DE58BF1D877B}" dt="2023-06-06T09:22:25.807" v="923" actId="14826"/>
          <ac:spMkLst>
            <pc:docMk/>
            <pc:sldMk cId="3955236344" sldId="298"/>
            <ac:spMk id="27" creationId="{AFCED0DB-2575-D5BF-B306-B182229914F7}"/>
          </ac:spMkLst>
        </pc:spChg>
        <pc:spChg chg="mod">
          <ac:chgData name="Lara Cruz" userId="b0f71b28-16e3-44a7-b9d4-cbd6d38f3b0b" providerId="ADAL" clId="{B101B667-BF26-431E-9872-DE58BF1D877B}" dt="2023-06-06T09:23:10.604" v="930" actId="14826"/>
          <ac:spMkLst>
            <pc:docMk/>
            <pc:sldMk cId="3955236344" sldId="298"/>
            <ac:spMk id="30" creationId="{626752F0-64FA-8343-4883-2E77B3208EC0}"/>
          </ac:spMkLst>
        </pc:spChg>
        <pc:spChg chg="add mod">
          <ac:chgData name="Lara Cruz" userId="b0f71b28-16e3-44a7-b9d4-cbd6d38f3b0b" providerId="ADAL" clId="{B101B667-BF26-431E-9872-DE58BF1D877B}" dt="2023-06-13T15:37:59.646" v="1597" actId="164"/>
          <ac:spMkLst>
            <pc:docMk/>
            <pc:sldMk cId="3955236344" sldId="298"/>
            <ac:spMk id="32" creationId="{B989C678-0161-DF6C-E71E-AAA408FD48C5}"/>
          </ac:spMkLst>
        </pc:spChg>
        <pc:spChg chg="mod topLvl">
          <ac:chgData name="Lara Cruz" userId="b0f71b28-16e3-44a7-b9d4-cbd6d38f3b0b" providerId="ADAL" clId="{B101B667-BF26-431E-9872-DE58BF1D877B}" dt="2023-06-13T15:37:46.924" v="1593" actId="164"/>
          <ac:spMkLst>
            <pc:docMk/>
            <pc:sldMk cId="3955236344" sldId="298"/>
            <ac:spMk id="34" creationId="{724CFC56-AE5C-448B-9F72-F57F297529F4}"/>
          </ac:spMkLst>
        </pc:spChg>
        <pc:spChg chg="del topLvl">
          <ac:chgData name="Lara Cruz" userId="b0f71b28-16e3-44a7-b9d4-cbd6d38f3b0b" providerId="ADAL" clId="{B101B667-BF26-431E-9872-DE58BF1D877B}" dt="2023-06-06T09:22:08.263" v="920" actId="478"/>
          <ac:spMkLst>
            <pc:docMk/>
            <pc:sldMk cId="3955236344" sldId="298"/>
            <ac:spMk id="55" creationId="{BA552082-3F63-48DB-AC1C-68DC45C4EE39}"/>
          </ac:spMkLst>
        </pc:spChg>
        <pc:grpChg chg="add mod">
          <ac:chgData name="Lara Cruz" userId="b0f71b28-16e3-44a7-b9d4-cbd6d38f3b0b" providerId="ADAL" clId="{B101B667-BF26-431E-9872-DE58BF1D877B}" dt="2023-06-13T15:37:46.924" v="1593" actId="164"/>
          <ac:grpSpMkLst>
            <pc:docMk/>
            <pc:sldMk cId="3955236344" sldId="298"/>
            <ac:grpSpMk id="2" creationId="{2C886A6F-3D76-0636-9B54-E93137DD5F4C}"/>
          </ac:grpSpMkLst>
        </pc:grpChg>
        <pc:grpChg chg="add mod">
          <ac:chgData name="Lara Cruz" userId="b0f71b28-16e3-44a7-b9d4-cbd6d38f3b0b" providerId="ADAL" clId="{B101B667-BF26-431E-9872-DE58BF1D877B}" dt="2023-06-13T15:38:27.825" v="1601" actId="1076"/>
          <ac:grpSpMkLst>
            <pc:docMk/>
            <pc:sldMk cId="3955236344" sldId="298"/>
            <ac:grpSpMk id="3" creationId="{9CD262E7-FF31-F7FB-DBAB-82EF490C928B}"/>
          </ac:grpSpMkLst>
        </pc:grpChg>
        <pc:grpChg chg="del">
          <ac:chgData name="Lara Cruz" userId="b0f71b28-16e3-44a7-b9d4-cbd6d38f3b0b" providerId="ADAL" clId="{B101B667-BF26-431E-9872-DE58BF1D877B}" dt="2023-06-06T09:20:48.183" v="901" actId="478"/>
          <ac:grpSpMkLst>
            <pc:docMk/>
            <pc:sldMk cId="3955236344" sldId="298"/>
            <ac:grpSpMk id="5" creationId="{36CF1129-B85E-9C0C-C8ED-3F2FBFCCA473}"/>
          </ac:grpSpMkLst>
        </pc:grpChg>
        <pc:grpChg chg="add mod">
          <ac:chgData name="Lara Cruz" userId="b0f71b28-16e3-44a7-b9d4-cbd6d38f3b0b" providerId="ADAL" clId="{B101B667-BF26-431E-9872-DE58BF1D877B}" dt="2023-06-13T15:38:31.879" v="1602" actId="1076"/>
          <ac:grpSpMkLst>
            <pc:docMk/>
            <pc:sldMk cId="3955236344" sldId="298"/>
            <ac:grpSpMk id="5" creationId="{A813F16A-A591-0CB7-AAC0-77F080F9EE3E}"/>
          </ac:grpSpMkLst>
        </pc:grpChg>
        <pc:grpChg chg="add del">
          <ac:chgData name="Lara Cruz" userId="b0f71b28-16e3-44a7-b9d4-cbd6d38f3b0b" providerId="ADAL" clId="{B101B667-BF26-431E-9872-DE58BF1D877B}" dt="2023-06-06T09:22:08.263" v="920" actId="478"/>
          <ac:grpSpMkLst>
            <pc:docMk/>
            <pc:sldMk cId="3955236344" sldId="298"/>
            <ac:grpSpMk id="6" creationId="{0BBE8223-1DAF-3986-E1D2-CCDF9858901B}"/>
          </ac:grpSpMkLst>
        </pc:grpChg>
        <pc:grpChg chg="add mod">
          <ac:chgData name="Lara Cruz" userId="b0f71b28-16e3-44a7-b9d4-cbd6d38f3b0b" providerId="ADAL" clId="{B101B667-BF26-431E-9872-DE58BF1D877B}" dt="2023-06-13T15:38:15.585" v="1599" actId="1076"/>
          <ac:grpSpMkLst>
            <pc:docMk/>
            <pc:sldMk cId="3955236344" sldId="298"/>
            <ac:grpSpMk id="6" creationId="{1E488B65-ABC5-BD08-33A8-8CEDB956D798}"/>
          </ac:grpSpMkLst>
        </pc:grpChg>
        <pc:grpChg chg="del">
          <ac:chgData name="Lara Cruz" userId="b0f71b28-16e3-44a7-b9d4-cbd6d38f3b0b" providerId="ADAL" clId="{B101B667-BF26-431E-9872-DE58BF1D877B}" dt="2023-06-06T09:22:51.306" v="927" actId="478"/>
          <ac:grpSpMkLst>
            <pc:docMk/>
            <pc:sldMk cId="3955236344" sldId="298"/>
            <ac:grpSpMk id="7" creationId="{CD4E98D6-0E11-D7A7-2381-DDB67E9256B0}"/>
          </ac:grpSpMkLst>
        </pc:grpChg>
        <pc:grpChg chg="del">
          <ac:chgData name="Lara Cruz" userId="b0f71b28-16e3-44a7-b9d4-cbd6d38f3b0b" providerId="ADAL" clId="{B101B667-BF26-431E-9872-DE58BF1D877B}" dt="2023-06-06T09:24:11.502" v="939" actId="478"/>
          <ac:grpSpMkLst>
            <pc:docMk/>
            <pc:sldMk cId="3955236344" sldId="298"/>
            <ac:grpSpMk id="16" creationId="{ED012F06-FF46-2696-EDD2-1B69DC496622}"/>
          </ac:grpSpMkLst>
        </pc:grpChg>
        <pc:grpChg chg="add mod">
          <ac:chgData name="Lara Cruz" userId="b0f71b28-16e3-44a7-b9d4-cbd6d38f3b0b" providerId="ADAL" clId="{B101B667-BF26-431E-9872-DE58BF1D877B}" dt="2023-06-13T15:37:53.917" v="1596" actId="164"/>
          <ac:grpSpMkLst>
            <pc:docMk/>
            <pc:sldMk cId="3955236344" sldId="298"/>
            <ac:grpSpMk id="26" creationId="{6AACA507-F1D9-95F3-BF9F-21E2E5628F7C}"/>
          </ac:grpSpMkLst>
        </pc:grpChg>
        <pc:grpChg chg="add mod">
          <ac:chgData name="Lara Cruz" userId="b0f71b28-16e3-44a7-b9d4-cbd6d38f3b0b" providerId="ADAL" clId="{B101B667-BF26-431E-9872-DE58BF1D877B}" dt="2023-06-13T15:37:59.646" v="1597" actId="164"/>
          <ac:grpSpMkLst>
            <pc:docMk/>
            <pc:sldMk cId="3955236344" sldId="298"/>
            <ac:grpSpMk id="29" creationId="{1E155A78-0947-91C8-FE4D-BB49446E1A5A}"/>
          </ac:grpSpMkLst>
        </pc:grpChg>
        <pc:grpChg chg="add mod">
          <ac:chgData name="Lara Cruz" userId="b0f71b28-16e3-44a7-b9d4-cbd6d38f3b0b" providerId="ADAL" clId="{B101B667-BF26-431E-9872-DE58BF1D877B}" dt="2023-06-08T14:40:25.655" v="1547" actId="164"/>
          <ac:grpSpMkLst>
            <pc:docMk/>
            <pc:sldMk cId="3955236344" sldId="298"/>
            <ac:grpSpMk id="43" creationId="{96C27C74-CA0F-FA81-0FDF-39E8E5F4694A}"/>
          </ac:grpSpMkLst>
        </pc:grpChg>
        <pc:picChg chg="del">
          <ac:chgData name="Lara Cruz" userId="b0f71b28-16e3-44a7-b9d4-cbd6d38f3b0b" providerId="ADAL" clId="{B101B667-BF26-431E-9872-DE58BF1D877B}" dt="2023-06-06T09:22:01.357" v="917" actId="478"/>
          <ac:picMkLst>
            <pc:docMk/>
            <pc:sldMk cId="3955236344" sldId="298"/>
            <ac:picMk id="8" creationId="{9A29A290-FBD8-43BA-9C5A-D75E4D0E1609}"/>
          </ac:picMkLst>
        </pc:picChg>
        <pc:picChg chg="del">
          <ac:chgData name="Lara Cruz" userId="b0f71b28-16e3-44a7-b9d4-cbd6d38f3b0b" providerId="ADAL" clId="{B101B667-BF26-431E-9872-DE58BF1D877B}" dt="2023-06-06T09:22:50.764" v="926" actId="478"/>
          <ac:picMkLst>
            <pc:docMk/>
            <pc:sldMk cId="3955236344" sldId="298"/>
            <ac:picMk id="10" creationId="{63D49A8A-D5C3-E48D-F204-882AA6771CBC}"/>
          </ac:picMkLst>
        </pc:picChg>
        <pc:picChg chg="del topLvl">
          <ac:chgData name="Lara Cruz" userId="b0f71b28-16e3-44a7-b9d4-cbd6d38f3b0b" providerId="ADAL" clId="{B101B667-BF26-431E-9872-DE58BF1D877B}" dt="2023-06-06T09:24:11.502" v="939" actId="478"/>
          <ac:picMkLst>
            <pc:docMk/>
            <pc:sldMk cId="3955236344" sldId="298"/>
            <ac:picMk id="11" creationId="{8E89BE0E-C03B-3D48-0210-08452D43FC17}"/>
          </ac:picMkLst>
        </pc:picChg>
        <pc:picChg chg="mod">
          <ac:chgData name="Lara Cruz" userId="b0f71b28-16e3-44a7-b9d4-cbd6d38f3b0b" providerId="ADAL" clId="{B101B667-BF26-431E-9872-DE58BF1D877B}" dt="2023-06-06T09:21:38.702" v="914" actId="14826"/>
          <ac:picMkLst>
            <pc:docMk/>
            <pc:sldMk cId="3955236344" sldId="298"/>
            <ac:picMk id="14" creationId="{92FBDC42-039E-1512-E7A6-667F42B9189F}"/>
          </ac:picMkLst>
        </pc:picChg>
        <pc:picChg chg="del">
          <ac:chgData name="Lara Cruz" userId="b0f71b28-16e3-44a7-b9d4-cbd6d38f3b0b" providerId="ADAL" clId="{B101B667-BF26-431E-9872-DE58BF1D877B}" dt="2023-06-06T09:24:11.502" v="939" actId="478"/>
          <ac:picMkLst>
            <pc:docMk/>
            <pc:sldMk cId="3955236344" sldId="298"/>
            <ac:picMk id="15" creationId="{1823DEA9-DC2E-2912-368A-2770542CBF6F}"/>
          </ac:picMkLst>
        </pc:picChg>
        <pc:picChg chg="mod">
          <ac:chgData name="Lara Cruz" userId="b0f71b28-16e3-44a7-b9d4-cbd6d38f3b0b" providerId="ADAL" clId="{B101B667-BF26-431E-9872-DE58BF1D877B}" dt="2023-06-06T09:22:25.807" v="923" actId="14826"/>
          <ac:picMkLst>
            <pc:docMk/>
            <pc:sldMk cId="3955236344" sldId="298"/>
            <ac:picMk id="28" creationId="{75D610E3-1ED3-7D9E-7697-A1D94107CB4D}"/>
          </ac:picMkLst>
        </pc:picChg>
        <pc:picChg chg="mod">
          <ac:chgData name="Lara Cruz" userId="b0f71b28-16e3-44a7-b9d4-cbd6d38f3b0b" providerId="ADAL" clId="{B101B667-BF26-431E-9872-DE58BF1D877B}" dt="2023-06-06T09:23:10.604" v="930" actId="14826"/>
          <ac:picMkLst>
            <pc:docMk/>
            <pc:sldMk cId="3955236344" sldId="298"/>
            <ac:picMk id="31" creationId="{FB916816-57C4-DD2C-28ED-29859B1D2827}"/>
          </ac:picMkLst>
        </pc:picChg>
        <pc:picChg chg="add mod">
          <ac:chgData name="Lara Cruz" userId="b0f71b28-16e3-44a7-b9d4-cbd6d38f3b0b" providerId="ADAL" clId="{B101B667-BF26-431E-9872-DE58BF1D877B}" dt="2023-06-08T14:40:25.655" v="1547" actId="164"/>
          <ac:picMkLst>
            <pc:docMk/>
            <pc:sldMk cId="3955236344" sldId="298"/>
            <ac:picMk id="33" creationId="{A5610A62-B9F5-0BFD-5CC2-E6942560EBCA}"/>
          </ac:picMkLst>
        </pc:picChg>
        <pc:picChg chg="add mod">
          <ac:chgData name="Lara Cruz" userId="b0f71b28-16e3-44a7-b9d4-cbd6d38f3b0b" providerId="ADAL" clId="{B101B667-BF26-431E-9872-DE58BF1D877B}" dt="2023-06-08T14:40:25.655" v="1547" actId="164"/>
          <ac:picMkLst>
            <pc:docMk/>
            <pc:sldMk cId="3955236344" sldId="298"/>
            <ac:picMk id="35" creationId="{BB0B15FD-AAEC-29DC-4AE7-E32B13899CC9}"/>
          </ac:picMkLst>
        </pc:picChg>
        <pc:picChg chg="del">
          <ac:chgData name="Lara Cruz" userId="b0f71b28-16e3-44a7-b9d4-cbd6d38f3b0b" providerId="ADAL" clId="{B101B667-BF26-431E-9872-DE58BF1D877B}" dt="2023-06-06T09:20:48.183" v="901" actId="478"/>
          <ac:picMkLst>
            <pc:docMk/>
            <pc:sldMk cId="3955236344" sldId="298"/>
            <ac:picMk id="39" creationId="{9394F1C0-2AA8-429C-A5AB-6D6E9A636301}"/>
          </ac:picMkLst>
        </pc:picChg>
        <pc:cxnChg chg="del">
          <ac:chgData name="Lara Cruz" userId="b0f71b28-16e3-44a7-b9d4-cbd6d38f3b0b" providerId="ADAL" clId="{B101B667-BF26-431E-9872-DE58BF1D877B}" dt="2023-06-06T09:25:33.923" v="955" actId="478"/>
          <ac:cxnSpMkLst>
            <pc:docMk/>
            <pc:sldMk cId="3955236344" sldId="298"/>
            <ac:cxnSpMk id="13" creationId="{5233BBF6-80B9-E37E-25FC-37CAB833B521}"/>
          </ac:cxnSpMkLst>
        </pc:cxnChg>
        <pc:cxnChg chg="del">
          <ac:chgData name="Lara Cruz" userId="b0f71b28-16e3-44a7-b9d4-cbd6d38f3b0b" providerId="ADAL" clId="{B101B667-BF26-431E-9872-DE58BF1D877B}" dt="2023-06-06T09:25:10.186" v="949" actId="478"/>
          <ac:cxnSpMkLst>
            <pc:docMk/>
            <pc:sldMk cId="3955236344" sldId="298"/>
            <ac:cxnSpMk id="23" creationId="{EB2D47C8-B163-4B3B-BC37-222578A82313}"/>
          </ac:cxnSpMkLst>
        </pc:cxnChg>
        <pc:cxnChg chg="add mod">
          <ac:chgData name="Lara Cruz" userId="b0f71b28-16e3-44a7-b9d4-cbd6d38f3b0b" providerId="ADAL" clId="{B101B667-BF26-431E-9872-DE58BF1D877B}" dt="2023-06-06T09:25:30.843" v="954" actId="14100"/>
          <ac:cxnSpMkLst>
            <pc:docMk/>
            <pc:sldMk cId="3955236344" sldId="298"/>
            <ac:cxnSpMk id="36" creationId="{0EE2AA70-4F85-CFD1-C205-E8C9B3044F6C}"/>
          </ac:cxnSpMkLst>
        </pc:cxnChg>
        <pc:cxnChg chg="add del mod">
          <ac:chgData name="Lara Cruz" userId="b0f71b28-16e3-44a7-b9d4-cbd6d38f3b0b" providerId="ADAL" clId="{B101B667-BF26-431E-9872-DE58BF1D877B}" dt="2023-06-06T09:25:35.762" v="956" actId="478"/>
          <ac:cxnSpMkLst>
            <pc:docMk/>
            <pc:sldMk cId="3955236344" sldId="298"/>
            <ac:cxnSpMk id="37" creationId="{93451C9C-776A-3E88-7246-144E3408E8BC}"/>
          </ac:cxnSpMkLst>
        </pc:cxnChg>
        <pc:cxnChg chg="add mod">
          <ac:chgData name="Lara Cruz" userId="b0f71b28-16e3-44a7-b9d4-cbd6d38f3b0b" providerId="ADAL" clId="{B101B667-BF26-431E-9872-DE58BF1D877B}" dt="2023-06-06T09:25:48.050" v="960" actId="1076"/>
          <ac:cxnSpMkLst>
            <pc:docMk/>
            <pc:sldMk cId="3955236344" sldId="298"/>
            <ac:cxnSpMk id="40" creationId="{34F90697-F84C-BBAB-0D76-45832485AE6C}"/>
          </ac:cxnSpMkLst>
        </pc:cxnChg>
        <pc:cxnChg chg="del">
          <ac:chgData name="Lara Cruz" userId="b0f71b28-16e3-44a7-b9d4-cbd6d38f3b0b" providerId="ADAL" clId="{B101B667-BF26-431E-9872-DE58BF1D877B}" dt="2023-06-06T09:25:06.571" v="948" actId="478"/>
          <ac:cxnSpMkLst>
            <pc:docMk/>
            <pc:sldMk cId="3955236344" sldId="298"/>
            <ac:cxnSpMk id="41" creationId="{F7EA56B0-54AB-54A6-296D-39845DF62FBF}"/>
          </ac:cxnSpMkLst>
        </pc:cxnChg>
        <pc:cxnChg chg="add mod">
          <ac:chgData name="Lara Cruz" userId="b0f71b28-16e3-44a7-b9d4-cbd6d38f3b0b" providerId="ADAL" clId="{B101B667-BF26-431E-9872-DE58BF1D877B}" dt="2023-06-06T09:25:44.495" v="959" actId="1076"/>
          <ac:cxnSpMkLst>
            <pc:docMk/>
            <pc:sldMk cId="3955236344" sldId="298"/>
            <ac:cxnSpMk id="42" creationId="{0D08ECE7-759E-8412-1C2D-7EB8AD93A8C4}"/>
          </ac:cxnSpMkLst>
        </pc:cxnChg>
      </pc:sldChg>
      <pc:sldChg chg="addSp delSp modSp add mod">
        <pc:chgData name="Lara Cruz" userId="b0f71b28-16e3-44a7-b9d4-cbd6d38f3b0b" providerId="ADAL" clId="{B101B667-BF26-431E-9872-DE58BF1D877B}" dt="2023-06-08T13:58:18.287" v="1546" actId="1076"/>
        <pc:sldMkLst>
          <pc:docMk/>
          <pc:sldMk cId="2716692719" sldId="300"/>
        </pc:sldMkLst>
        <pc:spChg chg="add del">
          <ac:chgData name="Lara Cruz" userId="b0f71b28-16e3-44a7-b9d4-cbd6d38f3b0b" providerId="ADAL" clId="{B101B667-BF26-431E-9872-DE58BF1D877B}" dt="2023-06-08T13:54:29.004" v="1472" actId="478"/>
          <ac:spMkLst>
            <pc:docMk/>
            <pc:sldMk cId="2716692719" sldId="300"/>
            <ac:spMk id="4" creationId="{41EB62B7-D2DD-C540-F1FD-120730893CE8}"/>
          </ac:spMkLst>
        </pc:spChg>
        <pc:spChg chg="add mod">
          <ac:chgData name="Lara Cruz" userId="b0f71b28-16e3-44a7-b9d4-cbd6d38f3b0b" providerId="ADAL" clId="{B101B667-BF26-431E-9872-DE58BF1D877B}" dt="2023-06-08T13:58:11.069" v="1545" actId="1076"/>
          <ac:spMkLst>
            <pc:docMk/>
            <pc:sldMk cId="2716692719" sldId="300"/>
            <ac:spMk id="6" creationId="{4A5446E3-5BE1-EABC-294E-A210F4F12529}"/>
          </ac:spMkLst>
        </pc:spChg>
        <pc:spChg chg="mod">
          <ac:chgData name="Lara Cruz" userId="b0f71b28-16e3-44a7-b9d4-cbd6d38f3b0b" providerId="ADAL" clId="{B101B667-BF26-431E-9872-DE58BF1D877B}" dt="2023-06-08T13:44:41.064" v="1050" actId="1076"/>
          <ac:spMkLst>
            <pc:docMk/>
            <pc:sldMk cId="2716692719" sldId="300"/>
            <ac:spMk id="11" creationId="{3A7CE1FB-291E-9111-6FAF-AA2582E3D011}"/>
          </ac:spMkLst>
        </pc:spChg>
        <pc:spChg chg="mod">
          <ac:chgData name="Lara Cruz" userId="b0f71b28-16e3-44a7-b9d4-cbd6d38f3b0b" providerId="ADAL" clId="{B101B667-BF26-431E-9872-DE58BF1D877B}" dt="2023-06-08T13:56:40.676" v="1542" actId="20577"/>
          <ac:spMkLst>
            <pc:docMk/>
            <pc:sldMk cId="2716692719" sldId="300"/>
            <ac:spMk id="18" creationId="{A96764BA-4B60-99FF-7B16-CEACC1D3AB17}"/>
          </ac:spMkLst>
        </pc:spChg>
        <pc:picChg chg="mod">
          <ac:chgData name="Lara Cruz" userId="b0f71b28-16e3-44a7-b9d4-cbd6d38f3b0b" providerId="ADAL" clId="{B101B667-BF26-431E-9872-DE58BF1D877B}" dt="2023-06-08T13:58:11.069" v="1545" actId="1076"/>
          <ac:picMkLst>
            <pc:docMk/>
            <pc:sldMk cId="2716692719" sldId="300"/>
            <ac:picMk id="3" creationId="{AAA2643C-D414-BA28-749A-5B5B966180CC}"/>
          </ac:picMkLst>
        </pc:picChg>
        <pc:picChg chg="add mod">
          <ac:chgData name="Lara Cruz" userId="b0f71b28-16e3-44a7-b9d4-cbd6d38f3b0b" providerId="ADAL" clId="{B101B667-BF26-431E-9872-DE58BF1D877B}" dt="2023-06-08T13:58:11.069" v="1545" actId="1076"/>
          <ac:picMkLst>
            <pc:docMk/>
            <pc:sldMk cId="2716692719" sldId="300"/>
            <ac:picMk id="8" creationId="{B377397A-9A1D-BBE8-3C1C-E72A679BB1A4}"/>
          </ac:picMkLst>
        </pc:picChg>
        <pc:picChg chg="mod">
          <ac:chgData name="Lara Cruz" userId="b0f71b28-16e3-44a7-b9d4-cbd6d38f3b0b" providerId="ADAL" clId="{B101B667-BF26-431E-9872-DE58BF1D877B}" dt="2023-06-08T13:54:10.088" v="1468" actId="14100"/>
          <ac:picMkLst>
            <pc:docMk/>
            <pc:sldMk cId="2716692719" sldId="300"/>
            <ac:picMk id="9" creationId="{53A33610-DC8B-CCB4-3CAC-DDB2D767053A}"/>
          </ac:picMkLst>
        </pc:picChg>
        <pc:picChg chg="mod">
          <ac:chgData name="Lara Cruz" userId="b0f71b28-16e3-44a7-b9d4-cbd6d38f3b0b" providerId="ADAL" clId="{B101B667-BF26-431E-9872-DE58BF1D877B}" dt="2023-06-08T13:54:43.354" v="1477" actId="1076"/>
          <ac:picMkLst>
            <pc:docMk/>
            <pc:sldMk cId="2716692719" sldId="300"/>
            <ac:picMk id="15" creationId="{048AF8F7-9AFE-4044-9837-6B6CD3305E92}"/>
          </ac:picMkLst>
        </pc:picChg>
        <pc:picChg chg="add mod">
          <ac:chgData name="Lara Cruz" userId="b0f71b28-16e3-44a7-b9d4-cbd6d38f3b0b" providerId="ADAL" clId="{B101B667-BF26-431E-9872-DE58BF1D877B}" dt="2023-06-08T13:58:18.287" v="1546" actId="1076"/>
          <ac:picMkLst>
            <pc:docMk/>
            <pc:sldMk cId="2716692719" sldId="300"/>
            <ac:picMk id="16" creationId="{AB7BB5C9-F4EF-9DEC-2051-EDC3B6E73BEB}"/>
          </ac:picMkLst>
        </pc:picChg>
        <pc:picChg chg="del">
          <ac:chgData name="Lara Cruz" userId="b0f71b28-16e3-44a7-b9d4-cbd6d38f3b0b" providerId="ADAL" clId="{B101B667-BF26-431E-9872-DE58BF1D877B}" dt="2023-06-08T13:54:13.484" v="1469" actId="478"/>
          <ac:picMkLst>
            <pc:docMk/>
            <pc:sldMk cId="2716692719" sldId="300"/>
            <ac:picMk id="21" creationId="{409D514F-6128-A433-FFAD-9C6141DEBDD8}"/>
          </ac:picMkLst>
        </pc:picChg>
        <pc:cxnChg chg="mod">
          <ac:chgData name="Lara Cruz" userId="b0f71b28-16e3-44a7-b9d4-cbd6d38f3b0b" providerId="ADAL" clId="{B101B667-BF26-431E-9872-DE58BF1D877B}" dt="2023-06-08T13:44:44.236" v="1051" actId="1076"/>
          <ac:cxnSpMkLst>
            <pc:docMk/>
            <pc:sldMk cId="2716692719" sldId="300"/>
            <ac:cxnSpMk id="10" creationId="{F88256EC-B4FB-309C-18BD-8C0F4C2DAD16}"/>
          </ac:cxnSpMkLst>
        </pc:cxnChg>
      </pc:sldChg>
      <pc:sldChg chg="addSp delSp modSp new mod">
        <pc:chgData name="Lara Cruz" userId="b0f71b28-16e3-44a7-b9d4-cbd6d38f3b0b" providerId="ADAL" clId="{B101B667-BF26-431E-9872-DE58BF1D877B}" dt="2023-06-14T14:52:00.051" v="1659" actId="207"/>
        <pc:sldMkLst>
          <pc:docMk/>
          <pc:sldMk cId="4009788007" sldId="301"/>
        </pc:sldMkLst>
        <pc:spChg chg="del">
          <ac:chgData name="Lara Cruz" userId="b0f71b28-16e3-44a7-b9d4-cbd6d38f3b0b" providerId="ADAL" clId="{B101B667-BF26-431E-9872-DE58BF1D877B}" dt="2023-06-08T13:44:58.590" v="1053" actId="931"/>
          <ac:spMkLst>
            <pc:docMk/>
            <pc:sldMk cId="4009788007" sldId="301"/>
            <ac:spMk id="2" creationId="{B1935718-EABD-E09D-C65C-B78DF799E014}"/>
          </ac:spMkLst>
        </pc:spChg>
        <pc:spChg chg="mod">
          <ac:chgData name="Lara Cruz" userId="b0f71b28-16e3-44a7-b9d4-cbd6d38f3b0b" providerId="ADAL" clId="{B101B667-BF26-431E-9872-DE58BF1D877B}" dt="2023-06-08T13:56:48.130" v="1543" actId="1076"/>
          <ac:spMkLst>
            <pc:docMk/>
            <pc:sldMk cId="4009788007" sldId="301"/>
            <ac:spMk id="3" creationId="{83974190-FD30-7FB7-9CD0-5BEC4D3EDC3E}"/>
          </ac:spMkLst>
        </pc:spChg>
        <pc:spChg chg="mod">
          <ac:chgData name="Lara Cruz" userId="b0f71b28-16e3-44a7-b9d4-cbd6d38f3b0b" providerId="ADAL" clId="{B101B667-BF26-431E-9872-DE58BF1D877B}" dt="2023-06-08T13:45:26.884" v="1074" actId="20577"/>
          <ac:spMkLst>
            <pc:docMk/>
            <pc:sldMk cId="4009788007" sldId="301"/>
            <ac:spMk id="4" creationId="{AF85268D-D325-72DB-6FDC-93F59CD6C80A}"/>
          </ac:spMkLst>
        </pc:spChg>
        <pc:spChg chg="add mod">
          <ac:chgData name="Lara Cruz" userId="b0f71b28-16e3-44a7-b9d4-cbd6d38f3b0b" providerId="ADAL" clId="{B101B667-BF26-431E-9872-DE58BF1D877B}" dt="2023-06-14T14:52:00.051" v="1659" actId="207"/>
          <ac:spMkLst>
            <pc:docMk/>
            <pc:sldMk cId="4009788007" sldId="301"/>
            <ac:spMk id="5" creationId="{4C41DB67-704C-61A3-DA26-79D5B3F49034}"/>
          </ac:spMkLst>
        </pc:spChg>
        <pc:spChg chg="add del mod">
          <ac:chgData name="Lara Cruz" userId="b0f71b28-16e3-44a7-b9d4-cbd6d38f3b0b" providerId="ADAL" clId="{B101B667-BF26-431E-9872-DE58BF1D877B}" dt="2023-06-08T13:51:55.337" v="1383" actId="478"/>
          <ac:spMkLst>
            <pc:docMk/>
            <pc:sldMk cId="4009788007" sldId="301"/>
            <ac:spMk id="10" creationId="{A082C0E8-BEBB-970E-5DC7-6C2385ACCA7C}"/>
          </ac:spMkLst>
        </pc:spChg>
        <pc:picChg chg="add mod">
          <ac:chgData name="Lara Cruz" userId="b0f71b28-16e3-44a7-b9d4-cbd6d38f3b0b" providerId="ADAL" clId="{B101B667-BF26-431E-9872-DE58BF1D877B}" dt="2023-06-08T13:57:03.498" v="1544" actId="1076"/>
          <ac:picMkLst>
            <pc:docMk/>
            <pc:sldMk cId="4009788007" sldId="301"/>
            <ac:picMk id="6" creationId="{5628F3E0-41A7-621A-0836-E323FA32061C}"/>
          </ac:picMkLst>
        </pc:picChg>
        <pc:picChg chg="add mod">
          <ac:chgData name="Lara Cruz" userId="b0f71b28-16e3-44a7-b9d4-cbd6d38f3b0b" providerId="ADAL" clId="{B101B667-BF26-431E-9872-DE58BF1D877B}" dt="2023-06-08T13:51:11.380" v="1372" actId="14100"/>
          <ac:picMkLst>
            <pc:docMk/>
            <pc:sldMk cId="4009788007" sldId="301"/>
            <ac:picMk id="12" creationId="{38A6BCD5-6C51-807A-9383-17AB3E8703AD}"/>
          </ac:picMkLst>
        </pc:picChg>
        <pc:picChg chg="add del mod">
          <ac:chgData name="Lara Cruz" userId="b0f71b28-16e3-44a7-b9d4-cbd6d38f3b0b" providerId="ADAL" clId="{B101B667-BF26-431E-9872-DE58BF1D877B}" dt="2023-06-08T13:51:25.044" v="1377" actId="478"/>
          <ac:picMkLst>
            <pc:docMk/>
            <pc:sldMk cId="4009788007" sldId="301"/>
            <ac:picMk id="14" creationId="{5448CF91-492D-2405-AC0F-45B1D563B508}"/>
          </ac:picMkLst>
        </pc:picChg>
        <pc:picChg chg="add mod">
          <ac:chgData name="Lara Cruz" userId="b0f71b28-16e3-44a7-b9d4-cbd6d38f3b0b" providerId="ADAL" clId="{B101B667-BF26-431E-9872-DE58BF1D877B}" dt="2023-06-08T13:51:35.515" v="1382" actId="1076"/>
          <ac:picMkLst>
            <pc:docMk/>
            <pc:sldMk cId="4009788007" sldId="301"/>
            <ac:picMk id="16" creationId="{B2EC4319-DD0B-02E3-93A1-8A9196E46D19}"/>
          </ac:picMkLst>
        </pc:picChg>
        <pc:cxnChg chg="add mod">
          <ac:chgData name="Lara Cruz" userId="b0f71b28-16e3-44a7-b9d4-cbd6d38f3b0b" providerId="ADAL" clId="{B101B667-BF26-431E-9872-DE58BF1D877B}" dt="2023-06-08T13:49:55.623" v="1309" actId="14100"/>
          <ac:cxnSpMkLst>
            <pc:docMk/>
            <pc:sldMk cId="4009788007" sldId="301"/>
            <ac:cxnSpMk id="7" creationId="{15985D29-17D8-AA04-DFEF-471445B1645C}"/>
          </ac:cxnSpMkLst>
        </pc:cxnChg>
      </pc:sldChg>
      <pc:sldChg chg="modSp add mod">
        <pc:chgData name="Lara Cruz" userId="b0f71b28-16e3-44a7-b9d4-cbd6d38f3b0b" providerId="ADAL" clId="{B101B667-BF26-431E-9872-DE58BF1D877B}" dt="2023-06-14T14:54:28.206" v="1675" actId="20577"/>
        <pc:sldMkLst>
          <pc:docMk/>
          <pc:sldMk cId="506989637" sldId="2147374855"/>
        </pc:sldMkLst>
        <pc:spChg chg="mod">
          <ac:chgData name="Lara Cruz" userId="b0f71b28-16e3-44a7-b9d4-cbd6d38f3b0b" providerId="ADAL" clId="{B101B667-BF26-431E-9872-DE58BF1D877B}" dt="2023-06-14T14:54:23.230" v="1662" actId="113"/>
          <ac:spMkLst>
            <pc:docMk/>
            <pc:sldMk cId="506989637" sldId="2147374855"/>
            <ac:spMk id="18" creationId="{8DE207BB-C5D4-4F24-B248-9E88BAE129BE}"/>
          </ac:spMkLst>
        </pc:spChg>
        <pc:spChg chg="mod">
          <ac:chgData name="Lara Cruz" userId="b0f71b28-16e3-44a7-b9d4-cbd6d38f3b0b" providerId="ADAL" clId="{B101B667-BF26-431E-9872-DE58BF1D877B}" dt="2023-06-14T14:54:28.206" v="1675" actId="20577"/>
          <ac:spMkLst>
            <pc:docMk/>
            <pc:sldMk cId="506989637" sldId="2147374855"/>
            <ac:spMk id="20" creationId="{45792D2E-6BEE-4838-AE92-3B32AE5DBD33}"/>
          </ac:spMkLst>
        </pc:spChg>
      </pc:sldChg>
    </pc:docChg>
  </pc:docChgLst>
  <pc:docChgLst>
    <pc:chgData name="Naomi Ho" userId="S::naomi.ho@bettercotton.org::2faf95aa-450d-4d35-8c7f-d27430629a1c" providerId="AD" clId="Web-{AAA6E5B1-EA85-EF99-1D72-08711793A0E2}"/>
    <pc:docChg chg="addSld modSld">
      <pc:chgData name="Naomi Ho" userId="S::naomi.ho@bettercotton.org::2faf95aa-450d-4d35-8c7f-d27430629a1c" providerId="AD" clId="Web-{AAA6E5B1-EA85-EF99-1D72-08711793A0E2}" dt="2023-06-05T15:31:57.476" v="98" actId="1076"/>
      <pc:docMkLst>
        <pc:docMk/>
      </pc:docMkLst>
      <pc:sldChg chg="addSp delSp">
        <pc:chgData name="Naomi Ho" userId="S::naomi.ho@bettercotton.org::2faf95aa-450d-4d35-8c7f-d27430629a1c" providerId="AD" clId="Web-{AAA6E5B1-EA85-EF99-1D72-08711793A0E2}" dt="2023-06-05T15:26:28.488" v="39"/>
        <pc:sldMkLst>
          <pc:docMk/>
          <pc:sldMk cId="824739939" sldId="288"/>
        </pc:sldMkLst>
        <pc:grpChg chg="del">
          <ac:chgData name="Naomi Ho" userId="S::naomi.ho@bettercotton.org::2faf95aa-450d-4d35-8c7f-d27430629a1c" providerId="AD" clId="Web-{AAA6E5B1-EA85-EF99-1D72-08711793A0E2}" dt="2023-06-05T15:26:09.659" v="34"/>
          <ac:grpSpMkLst>
            <pc:docMk/>
            <pc:sldMk cId="824739939" sldId="288"/>
            <ac:grpSpMk id="6" creationId="{0BBE8223-1DAF-3986-E1D2-CCDF9858901B}"/>
          </ac:grpSpMkLst>
        </pc:grpChg>
        <pc:grpChg chg="del">
          <ac:chgData name="Naomi Ho" userId="S::naomi.ho@bettercotton.org::2faf95aa-450d-4d35-8c7f-d27430629a1c" providerId="AD" clId="Web-{AAA6E5B1-EA85-EF99-1D72-08711793A0E2}" dt="2023-06-05T15:26:10.690" v="35"/>
          <ac:grpSpMkLst>
            <pc:docMk/>
            <pc:sldMk cId="824739939" sldId="288"/>
            <ac:grpSpMk id="7" creationId="{CD4E98D6-0E11-D7A7-2381-DDB67E9256B0}"/>
          </ac:grpSpMkLst>
        </pc:grpChg>
        <pc:grpChg chg="add del">
          <ac:chgData name="Naomi Ho" userId="S::naomi.ho@bettercotton.org::2faf95aa-450d-4d35-8c7f-d27430629a1c" providerId="AD" clId="Web-{AAA6E5B1-EA85-EF99-1D72-08711793A0E2}" dt="2023-06-05T15:26:25.723" v="38"/>
          <ac:grpSpMkLst>
            <pc:docMk/>
            <pc:sldMk cId="824739939" sldId="288"/>
            <ac:grpSpMk id="36" creationId="{D510A60A-AFFE-0B65-DF06-0228F0EC747F}"/>
          </ac:grpSpMkLst>
        </pc:grpChg>
        <pc:cxnChg chg="add del">
          <ac:chgData name="Naomi Ho" userId="S::naomi.ho@bettercotton.org::2faf95aa-450d-4d35-8c7f-d27430629a1c" providerId="AD" clId="Web-{AAA6E5B1-EA85-EF99-1D72-08711793A0E2}" dt="2023-06-05T15:26:28.488" v="39"/>
          <ac:cxnSpMkLst>
            <pc:docMk/>
            <pc:sldMk cId="824739939" sldId="288"/>
            <ac:cxnSpMk id="13" creationId="{5233BBF6-80B9-E37E-25FC-37CAB833B521}"/>
          </ac:cxnSpMkLst>
        </pc:cxnChg>
      </pc:sldChg>
      <pc:sldChg chg="delSp modSp">
        <pc:chgData name="Naomi Ho" userId="S::naomi.ho@bettercotton.org::2faf95aa-450d-4d35-8c7f-d27430629a1c" providerId="AD" clId="Web-{AAA6E5B1-EA85-EF99-1D72-08711793A0E2}" dt="2023-06-05T15:28:40.652" v="50"/>
        <pc:sldMkLst>
          <pc:docMk/>
          <pc:sldMk cId="2385738458" sldId="289"/>
        </pc:sldMkLst>
        <pc:spChg chg="mod">
          <ac:chgData name="Naomi Ho" userId="S::naomi.ho@bettercotton.org::2faf95aa-450d-4d35-8c7f-d27430629a1c" providerId="AD" clId="Web-{AAA6E5B1-EA85-EF99-1D72-08711793A0E2}" dt="2023-06-05T15:28:08.229" v="43" actId="20577"/>
          <ac:spMkLst>
            <pc:docMk/>
            <pc:sldMk cId="2385738458" sldId="289"/>
            <ac:spMk id="12" creationId="{E01AE70E-97E5-1343-D8F9-C314F1AB53B1}"/>
          </ac:spMkLst>
        </pc:spChg>
        <pc:spChg chg="mod">
          <ac:chgData name="Naomi Ho" userId="S::naomi.ho@bettercotton.org::2faf95aa-450d-4d35-8c7f-d27430629a1c" providerId="AD" clId="Web-{AAA6E5B1-EA85-EF99-1D72-08711793A0E2}" dt="2023-06-05T15:28:31.339" v="49" actId="20577"/>
          <ac:spMkLst>
            <pc:docMk/>
            <pc:sldMk cId="2385738458" sldId="289"/>
            <ac:spMk id="18" creationId="{2FE7C207-7979-7DDB-C5B5-65975D660D5C}"/>
          </ac:spMkLst>
        </pc:spChg>
        <pc:grpChg chg="del">
          <ac:chgData name="Naomi Ho" userId="S::naomi.ho@bettercotton.org::2faf95aa-450d-4d35-8c7f-d27430629a1c" providerId="AD" clId="Web-{AAA6E5B1-EA85-EF99-1D72-08711793A0E2}" dt="2023-06-05T15:28:40.652" v="50"/>
          <ac:grpSpMkLst>
            <pc:docMk/>
            <pc:sldMk cId="2385738458" sldId="289"/>
            <ac:grpSpMk id="6" creationId="{0BBE8223-1DAF-3986-E1D2-CCDF9858901B}"/>
          </ac:grpSpMkLst>
        </pc:grpChg>
        <pc:grpChg chg="del">
          <ac:chgData name="Naomi Ho" userId="S::naomi.ho@bettercotton.org::2faf95aa-450d-4d35-8c7f-d27430629a1c" providerId="AD" clId="Web-{AAA6E5B1-EA85-EF99-1D72-08711793A0E2}" dt="2023-06-05T15:28:10.869" v="45"/>
          <ac:grpSpMkLst>
            <pc:docMk/>
            <pc:sldMk cId="2385738458" sldId="289"/>
            <ac:grpSpMk id="7" creationId="{CD4E98D6-0E11-D7A7-2381-DDB67E9256B0}"/>
          </ac:grpSpMkLst>
        </pc:grpChg>
        <pc:grpChg chg="del">
          <ac:chgData name="Naomi Ho" userId="S::naomi.ho@bettercotton.org::2faf95aa-450d-4d35-8c7f-d27430629a1c" providerId="AD" clId="Web-{AAA6E5B1-EA85-EF99-1D72-08711793A0E2}" dt="2023-06-05T15:28:09.244" v="44"/>
          <ac:grpSpMkLst>
            <pc:docMk/>
            <pc:sldMk cId="2385738458" sldId="289"/>
            <ac:grpSpMk id="36" creationId="{D510A60A-AFFE-0B65-DF06-0228F0EC747F}"/>
          </ac:grpSpMkLst>
        </pc:grpChg>
      </pc:sldChg>
      <pc:sldChg chg="delSp modSp">
        <pc:chgData name="Naomi Ho" userId="S::naomi.ho@bettercotton.org::2faf95aa-450d-4d35-8c7f-d27430629a1c" providerId="AD" clId="Web-{AAA6E5B1-EA85-EF99-1D72-08711793A0E2}" dt="2023-06-05T15:31:57.476" v="98" actId="1076"/>
        <pc:sldMkLst>
          <pc:docMk/>
          <pc:sldMk cId="2869463670" sldId="290"/>
        </pc:sldMkLst>
        <pc:spChg chg="mod topLvl">
          <ac:chgData name="Naomi Ho" userId="S::naomi.ho@bettercotton.org::2faf95aa-450d-4d35-8c7f-d27430629a1c" providerId="AD" clId="Web-{AAA6E5B1-EA85-EF99-1D72-08711793A0E2}" dt="2023-06-05T15:31:42.835" v="95" actId="14100"/>
          <ac:spMkLst>
            <pc:docMk/>
            <pc:sldMk cId="2869463670" sldId="290"/>
            <ac:spMk id="3" creationId="{71DA2796-63A2-45F2-BA29-24BA5E301F44}"/>
          </ac:spMkLst>
        </pc:spChg>
        <pc:spChg chg="mod">
          <ac:chgData name="Naomi Ho" userId="S::naomi.ho@bettercotton.org::2faf95aa-450d-4d35-8c7f-d27430629a1c" providerId="AD" clId="Web-{AAA6E5B1-EA85-EF99-1D72-08711793A0E2}" dt="2023-06-05T15:30:41.363" v="77" actId="1076"/>
          <ac:spMkLst>
            <pc:docMk/>
            <pc:sldMk cId="2869463670" sldId="290"/>
            <ac:spMk id="17" creationId="{AC1603E2-7225-D631-0A5D-4EF9652B2B0C}"/>
          </ac:spMkLst>
        </pc:spChg>
        <pc:spChg chg="del">
          <ac:chgData name="Naomi Ho" userId="S::naomi.ho@bettercotton.org::2faf95aa-450d-4d35-8c7f-d27430629a1c" providerId="AD" clId="Web-{AAA6E5B1-EA85-EF99-1D72-08711793A0E2}" dt="2023-06-05T15:29:47.672" v="74"/>
          <ac:spMkLst>
            <pc:docMk/>
            <pc:sldMk cId="2869463670" sldId="290"/>
            <ac:spMk id="18" creationId="{2FE7C207-7979-7DDB-C5B5-65975D660D5C}"/>
          </ac:spMkLst>
        </pc:spChg>
        <pc:spChg chg="mod topLvl">
          <ac:chgData name="Naomi Ho" userId="S::naomi.ho@bettercotton.org::2faf95aa-450d-4d35-8c7f-d27430629a1c" providerId="AD" clId="Web-{AAA6E5B1-EA85-EF99-1D72-08711793A0E2}" dt="2023-06-05T15:31:57.476" v="98" actId="1076"/>
          <ac:spMkLst>
            <pc:docMk/>
            <pc:sldMk cId="2869463670" sldId="290"/>
            <ac:spMk id="34" creationId="{724CFC56-AE5C-448B-9F72-F57F297529F4}"/>
          </ac:spMkLst>
        </pc:spChg>
        <pc:grpChg chg="del">
          <ac:chgData name="Naomi Ho" userId="S::naomi.ho@bettercotton.org::2faf95aa-450d-4d35-8c7f-d27430629a1c" providerId="AD" clId="Web-{AAA6E5B1-EA85-EF99-1D72-08711793A0E2}" dt="2023-06-05T15:30:46.957" v="78"/>
          <ac:grpSpMkLst>
            <pc:docMk/>
            <pc:sldMk cId="2869463670" sldId="290"/>
            <ac:grpSpMk id="5" creationId="{36CF1129-B85E-9C0C-C8ED-3F2FBFCCA473}"/>
          </ac:grpSpMkLst>
        </pc:grpChg>
        <pc:grpChg chg="del">
          <ac:chgData name="Naomi Ho" userId="S::naomi.ho@bettercotton.org::2faf95aa-450d-4d35-8c7f-d27430629a1c" providerId="AD" clId="Web-{AAA6E5B1-EA85-EF99-1D72-08711793A0E2}" dt="2023-06-05T15:29:35.218" v="67"/>
          <ac:grpSpMkLst>
            <pc:docMk/>
            <pc:sldMk cId="2869463670" sldId="290"/>
            <ac:grpSpMk id="6" creationId="{0BBE8223-1DAF-3986-E1D2-CCDF9858901B}"/>
          </ac:grpSpMkLst>
        </pc:grpChg>
        <pc:grpChg chg="del">
          <ac:chgData name="Naomi Ho" userId="S::naomi.ho@bettercotton.org::2faf95aa-450d-4d35-8c7f-d27430629a1c" providerId="AD" clId="Web-{AAA6E5B1-EA85-EF99-1D72-08711793A0E2}" dt="2023-06-05T15:29:36.265" v="68"/>
          <ac:grpSpMkLst>
            <pc:docMk/>
            <pc:sldMk cId="2869463670" sldId="290"/>
            <ac:grpSpMk id="7" creationId="{CD4E98D6-0E11-D7A7-2381-DDB67E9256B0}"/>
          </ac:grpSpMkLst>
        </pc:grpChg>
        <pc:grpChg chg="del">
          <ac:chgData name="Naomi Ho" userId="S::naomi.ho@bettercotton.org::2faf95aa-450d-4d35-8c7f-d27430629a1c" providerId="AD" clId="Web-{AAA6E5B1-EA85-EF99-1D72-08711793A0E2}" dt="2023-06-05T15:29:44.969" v="73"/>
          <ac:grpSpMkLst>
            <pc:docMk/>
            <pc:sldMk cId="2869463670" sldId="290"/>
            <ac:grpSpMk id="16" creationId="{ED012F06-FF46-2696-EDD2-1B69DC496622}"/>
          </ac:grpSpMkLst>
        </pc:grpChg>
        <pc:grpChg chg="del">
          <ac:chgData name="Naomi Ho" userId="S::naomi.ho@bettercotton.org::2faf95aa-450d-4d35-8c7f-d27430629a1c" providerId="AD" clId="Web-{AAA6E5B1-EA85-EF99-1D72-08711793A0E2}" dt="2023-06-05T15:29:39.531" v="71"/>
          <ac:grpSpMkLst>
            <pc:docMk/>
            <pc:sldMk cId="2869463670" sldId="290"/>
            <ac:grpSpMk id="36" creationId="{D510A60A-AFFE-0B65-DF06-0228F0EC747F}"/>
          </ac:grpSpMkLst>
        </pc:grpChg>
        <pc:picChg chg="mod topLvl">
          <ac:chgData name="Naomi Ho" userId="S::naomi.ho@bettercotton.org::2faf95aa-450d-4d35-8c7f-d27430629a1c" providerId="AD" clId="Web-{AAA6E5B1-EA85-EF99-1D72-08711793A0E2}" dt="2023-06-05T15:31:51.320" v="97" actId="1076"/>
          <ac:picMkLst>
            <pc:docMk/>
            <pc:sldMk cId="2869463670" sldId="290"/>
            <ac:picMk id="39" creationId="{9394F1C0-2AA8-429C-A5AB-6D6E9A636301}"/>
          </ac:picMkLst>
        </pc:picChg>
        <pc:cxnChg chg="del">
          <ac:chgData name="Naomi Ho" userId="S::naomi.ho@bettercotton.org::2faf95aa-450d-4d35-8c7f-d27430629a1c" providerId="AD" clId="Web-{AAA6E5B1-EA85-EF99-1D72-08711793A0E2}" dt="2023-06-05T15:29:37.359" v="69"/>
          <ac:cxnSpMkLst>
            <pc:docMk/>
            <pc:sldMk cId="2869463670" sldId="290"/>
            <ac:cxnSpMk id="13" creationId="{5233BBF6-80B9-E37E-25FC-37CAB833B521}"/>
          </ac:cxnSpMkLst>
        </pc:cxnChg>
        <pc:cxnChg chg="del">
          <ac:chgData name="Naomi Ho" userId="S::naomi.ho@bettercotton.org::2faf95aa-450d-4d35-8c7f-d27430629a1c" providerId="AD" clId="Web-{AAA6E5B1-EA85-EF99-1D72-08711793A0E2}" dt="2023-06-05T15:29:38.796" v="70"/>
          <ac:cxnSpMkLst>
            <pc:docMk/>
            <pc:sldMk cId="2869463670" sldId="290"/>
            <ac:cxnSpMk id="14" creationId="{7EDE9661-4245-DD74-F6A2-DD7F25FB5E2B}"/>
          </ac:cxnSpMkLst>
        </pc:cxnChg>
        <pc:cxnChg chg="del">
          <ac:chgData name="Naomi Ho" userId="S::naomi.ho@bettercotton.org::2faf95aa-450d-4d35-8c7f-d27430629a1c" providerId="AD" clId="Web-{AAA6E5B1-EA85-EF99-1D72-08711793A0E2}" dt="2023-06-05T15:30:36.315" v="76"/>
          <ac:cxnSpMkLst>
            <pc:docMk/>
            <pc:sldMk cId="2869463670" sldId="290"/>
            <ac:cxnSpMk id="23" creationId="{EB2D47C8-B163-4B3B-BC37-222578A82313}"/>
          </ac:cxnSpMkLst>
        </pc:cxnChg>
        <pc:cxnChg chg="del">
          <ac:chgData name="Naomi Ho" userId="S::naomi.ho@bettercotton.org::2faf95aa-450d-4d35-8c7f-d27430629a1c" providerId="AD" clId="Web-{AAA6E5B1-EA85-EF99-1D72-08711793A0E2}" dt="2023-06-05T15:29:42.812" v="72"/>
          <ac:cxnSpMkLst>
            <pc:docMk/>
            <pc:sldMk cId="2869463670" sldId="290"/>
            <ac:cxnSpMk id="41" creationId="{F7EA56B0-54AB-54A6-296D-39845DF62FBF}"/>
          </ac:cxnSpMkLst>
        </pc:cxnChg>
      </pc:sldChg>
      <pc:sldChg chg="modSp add replId">
        <pc:chgData name="Naomi Ho" userId="S::naomi.ho@bettercotton.org::2faf95aa-450d-4d35-8c7f-d27430629a1c" providerId="AD" clId="Web-{AAA6E5B1-EA85-EF99-1D72-08711793A0E2}" dt="2023-06-05T15:25:55.315" v="33" actId="20577"/>
        <pc:sldMkLst>
          <pc:docMk/>
          <pc:sldMk cId="1138175935" sldId="292"/>
        </pc:sldMkLst>
        <pc:spChg chg="mod">
          <ac:chgData name="Naomi Ho" userId="S::naomi.ho@bettercotton.org::2faf95aa-450d-4d35-8c7f-d27430629a1c" providerId="AD" clId="Web-{AAA6E5B1-EA85-EF99-1D72-08711793A0E2}" dt="2023-06-05T15:25:55.315" v="33" actId="20577"/>
          <ac:spMkLst>
            <pc:docMk/>
            <pc:sldMk cId="1138175935" sldId="292"/>
            <ac:spMk id="25" creationId="{DD37C7B6-AE61-47FE-9F3C-2EB017FB748E}"/>
          </ac:spMkLst>
        </pc:spChg>
      </pc:sldChg>
      <pc:sldChg chg="delSp modSp add replId">
        <pc:chgData name="Naomi Ho" userId="S::naomi.ho@bettercotton.org::2faf95aa-450d-4d35-8c7f-d27430629a1c" providerId="AD" clId="Web-{AAA6E5B1-EA85-EF99-1D72-08711793A0E2}" dt="2023-06-05T15:29:21.639" v="66" actId="20577"/>
        <pc:sldMkLst>
          <pc:docMk/>
          <pc:sldMk cId="1297534275" sldId="293"/>
        </pc:sldMkLst>
        <pc:spChg chg="mod">
          <ac:chgData name="Naomi Ho" userId="S::naomi.ho@bettercotton.org::2faf95aa-450d-4d35-8c7f-d27430629a1c" providerId="AD" clId="Web-{AAA6E5B1-EA85-EF99-1D72-08711793A0E2}" dt="2023-06-05T15:29:21.639" v="66" actId="20577"/>
          <ac:spMkLst>
            <pc:docMk/>
            <pc:sldMk cId="1297534275" sldId="293"/>
            <ac:spMk id="20" creationId="{01A05EAE-9924-A096-762A-25AD3271E03A}"/>
          </ac:spMkLst>
        </pc:spChg>
        <pc:grpChg chg="del">
          <ac:chgData name="Naomi Ho" userId="S::naomi.ho@bettercotton.org::2faf95aa-450d-4d35-8c7f-d27430629a1c" providerId="AD" clId="Web-{AAA6E5B1-EA85-EF99-1D72-08711793A0E2}" dt="2023-06-05T15:29:05.560" v="52"/>
          <ac:grpSpMkLst>
            <pc:docMk/>
            <pc:sldMk cId="1297534275" sldId="293"/>
            <ac:grpSpMk id="5" creationId="{36CF1129-B85E-9C0C-C8ED-3F2FBFCCA473}"/>
          </ac:grpSpMkLst>
        </pc:grpChg>
        <pc:grpChg chg="del">
          <ac:chgData name="Naomi Ho" userId="S::naomi.ho@bettercotton.org::2faf95aa-450d-4d35-8c7f-d27430629a1c" providerId="AD" clId="Web-{AAA6E5B1-EA85-EF99-1D72-08711793A0E2}" dt="2023-06-05T15:29:09.029" v="54"/>
          <ac:grpSpMkLst>
            <pc:docMk/>
            <pc:sldMk cId="1297534275" sldId="293"/>
            <ac:grpSpMk id="16" creationId="{ED012F06-FF46-2696-EDD2-1B69DC496622}"/>
          </ac:grpSpMkLst>
        </pc:grpChg>
        <pc:grpChg chg="del">
          <ac:chgData name="Naomi Ho" userId="S::naomi.ho@bettercotton.org::2faf95aa-450d-4d35-8c7f-d27430629a1c" providerId="AD" clId="Web-{AAA6E5B1-EA85-EF99-1D72-08711793A0E2}" dt="2023-06-05T15:29:08.013" v="53"/>
          <ac:grpSpMkLst>
            <pc:docMk/>
            <pc:sldMk cId="1297534275" sldId="293"/>
            <ac:grpSpMk id="36" creationId="{D510A60A-AFFE-0B65-DF06-0228F0EC747F}"/>
          </ac:grpSpMkLst>
        </pc:grpChg>
      </pc:sldChg>
    </pc:docChg>
  </pc:docChgLst>
  <pc:docChgLst>
    <pc:chgData name="Naomi Ho" userId="S::naomi.ho@bettercotton.org::2faf95aa-450d-4d35-8c7f-d27430629a1c" providerId="AD" clId="Web-{8EEB799E-A86B-41C7-BAAE-C1D513D4678D}"/>
    <pc:docChg chg="modSld">
      <pc:chgData name="Naomi Ho" userId="S::naomi.ho@bettercotton.org::2faf95aa-450d-4d35-8c7f-d27430629a1c" providerId="AD" clId="Web-{8EEB799E-A86B-41C7-BAAE-C1D513D4678D}" dt="2023-05-24T16:08:13.944" v="1" actId="20577"/>
      <pc:docMkLst>
        <pc:docMk/>
      </pc:docMkLst>
      <pc:sldChg chg="modSp">
        <pc:chgData name="Naomi Ho" userId="S::naomi.ho@bettercotton.org::2faf95aa-450d-4d35-8c7f-d27430629a1c" providerId="AD" clId="Web-{8EEB799E-A86B-41C7-BAAE-C1D513D4678D}" dt="2023-05-24T16:08:13.944" v="1" actId="20577"/>
        <pc:sldMkLst>
          <pc:docMk/>
          <pc:sldMk cId="1890534255" sldId="291"/>
        </pc:sldMkLst>
        <pc:spChg chg="mod">
          <ac:chgData name="Naomi Ho" userId="S::naomi.ho@bettercotton.org::2faf95aa-450d-4d35-8c7f-d27430629a1c" providerId="AD" clId="Web-{8EEB799E-A86B-41C7-BAAE-C1D513D4678D}" dt="2023-05-24T16:08:13.944" v="1" actId="20577"/>
          <ac:spMkLst>
            <pc:docMk/>
            <pc:sldMk cId="1890534255" sldId="291"/>
            <ac:spMk id="20" creationId="{01A05EAE-9924-A096-762A-25AD3271E03A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explosion val="4"/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F81A-49EE-B2DC-2C83372B322E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F81A-49EE-B2DC-2C83372B322E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3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3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81A-49EE-B2DC-2C83372B322E}"/>
              </c:ext>
            </c:extLst>
          </c:dPt>
          <c:dPt>
            <c:idx val="3"/>
            <c:bubble3D val="0"/>
            <c:spPr>
              <a:gradFill rotWithShape="1">
                <a:gsLst>
                  <a:gs pos="0">
                    <a:schemeClr val="accent4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4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4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81A-49EE-B2DC-2C83372B322E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.5</c:v>
                </c:pt>
                <c:pt idx="1">
                  <c:v>2.5</c:v>
                </c:pt>
                <c:pt idx="2">
                  <c:v>2.5</c:v>
                </c:pt>
                <c:pt idx="3">
                  <c:v>2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F81A-49EE-B2DC-2C83372B32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691B962-BB28-4681-918A-FA69A430482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4330444-FE9C-465D-9788-6B24714ACAC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11387138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D8884E4-C4CE-4F3E-AFB0-87EE7C4B14C8}" type="datetimeFigureOut">
              <a:rPr lang="en-GB" smtClean="0"/>
              <a:t>22/06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6F87B7E-8806-4FC2-BC4B-1EFEDE60B31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3EA57E-71FA-4D10-B775-876C3C81CA5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11387138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B8065F-5B30-463D-8C07-2BC55A14E5DE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4695304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11387138" y="0"/>
            <a:ext cx="8712200" cy="5667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1043435-6B5A-4264-B384-479DD080028A}" type="datetimeFigureOut">
              <a:rPr lang="en-GB" smtClean="0"/>
              <a:t>22/06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659563" y="1414463"/>
            <a:ext cx="6784975" cy="3816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2009775" y="5441950"/>
            <a:ext cx="16084550" cy="44545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11387138" y="10742613"/>
            <a:ext cx="8712200" cy="5667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083DDD-75B9-4D38-9D57-9E5D94C61EB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200912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rtl="0"/>
            <a:fld id="{8530193B-564F-4854-8A52-728F3FB19C85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64601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algn="just" rtl="0" fontAlgn="base">
              <a:buFont typeface="Arial" panose="020B0604020202020204" pitchFamily="34" charset="0"/>
              <a:buChar char="•"/>
            </a:pPr>
            <a:r>
              <a:rPr lang="en-US" sz="9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Is a member-based organization of over 2.5 million poor self-employed women workers from informal economy.</a:t>
            </a:r>
            <a:r>
              <a:rPr lang="en-US" sz="9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sz="900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just" rtl="0" fontAlgn="base">
              <a:buFont typeface="Arial" panose="020B0604020202020204" pitchFamily="34" charset="0"/>
              <a:buChar char="•"/>
            </a:pPr>
            <a:r>
              <a:rPr lang="en-US" sz="9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Objectives are Full-Employment and Self-Reliance</a:t>
            </a:r>
            <a:r>
              <a:rPr lang="en-US" sz="9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sz="900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just" rtl="0" fontAlgn="base">
              <a:buFont typeface="Arial" panose="020B0604020202020204" pitchFamily="34" charset="0"/>
              <a:buChar char="•"/>
            </a:pPr>
            <a:r>
              <a:rPr lang="en-US" sz="9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stablished as a Trade  Union in 1972 by Late Shri. </a:t>
            </a:r>
            <a:r>
              <a:rPr lang="en-US" sz="900" b="0" i="0" u="none" strike="noStrike" err="1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laben</a:t>
            </a:r>
            <a:r>
              <a:rPr lang="en-US" sz="9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Bhatt</a:t>
            </a:r>
            <a:r>
              <a:rPr lang="en-US" sz="9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sz="900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just" rtl="0" fontAlgn="base">
              <a:buFont typeface="Arial" panose="020B0604020202020204" pitchFamily="34" charset="0"/>
              <a:buChar char="•"/>
            </a:pPr>
            <a:r>
              <a:rPr lang="en-US" sz="9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Members come from 18 states of India and over 125 trade unions</a:t>
            </a:r>
            <a:endParaRPr lang="en-US" sz="900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just" rtl="0" fontAlgn="base">
              <a:buFont typeface="Arial" panose="020B0604020202020204" pitchFamily="34" charset="0"/>
              <a:buChar char="•"/>
            </a:pPr>
            <a:r>
              <a:rPr lang="en-US" sz="9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Over 2/3rd of SEWA’s membership is Rural </a:t>
            </a:r>
            <a:r>
              <a:rPr lang="en-US" sz="9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sz="900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just" rtl="0" fontAlgn="base">
              <a:buFont typeface="Arial" panose="020B0604020202020204" pitchFamily="34" charset="0"/>
              <a:buChar char="•"/>
            </a:pPr>
            <a:r>
              <a:rPr lang="en-US" sz="9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Over 50% are from Agriculture.</a:t>
            </a:r>
            <a:r>
              <a:rPr lang="en-US" sz="9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sz="900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just" rtl="0" fontAlgn="base">
              <a:buFont typeface="Arial" panose="020B0604020202020204" pitchFamily="34" charset="0"/>
              <a:buChar char="•"/>
            </a:pPr>
            <a:r>
              <a:rPr lang="en-US" sz="9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Need-based and demand-driven Approach</a:t>
            </a:r>
            <a:r>
              <a:rPr lang="en-US" sz="9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sz="900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just" rtl="0" fontAlgn="base">
              <a:buFont typeface="Arial" panose="020B0604020202020204" pitchFamily="34" charset="0"/>
              <a:buChar char="•"/>
            </a:pPr>
            <a:r>
              <a:rPr lang="en-US" sz="9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Joint Strategy of Struggle and Development</a:t>
            </a:r>
            <a:endParaRPr lang="en-US" sz="900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rtl="0"/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rtl="0"/>
            <a:fld id="{8530193B-564F-4854-8A52-728F3FB19C85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71633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algn="l" rtl="0" fontAlgn="base">
              <a:buFont typeface="Arial" panose="020B0604020202020204" pitchFamily="34" charset="0"/>
              <a:buChar char="•"/>
            </a:pPr>
            <a:r>
              <a:rPr lang="en-GB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SEWA strongly believes that “Poverty is a form of violence perpetuated by the consent of Society”</a:t>
            </a:r>
            <a:r>
              <a:rPr lang="en-US" sz="18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GB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Therefore, to enable </a:t>
            </a:r>
            <a:r>
              <a:rPr lang="en-GB" sz="1800" b="1" i="0" u="none" strike="noStrike">
                <a:solidFill>
                  <a:srgbClr val="990000"/>
                </a:solidFill>
                <a:effectLst/>
                <a:latin typeface="Calibri" panose="020F0502020204030204" pitchFamily="34" charset="0"/>
              </a:rPr>
              <a:t>wellbeing</a:t>
            </a:r>
            <a:r>
              <a:rPr lang="en-GB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of its member through </a:t>
            </a:r>
            <a:r>
              <a:rPr lang="en-GB" sz="1800" b="1" i="0" u="none" strike="noStrike">
                <a:solidFill>
                  <a:srgbClr val="990000"/>
                </a:solidFill>
                <a:effectLst/>
                <a:latin typeface="Calibri" panose="020F0502020204030204" pitchFamily="34" charset="0"/>
              </a:rPr>
              <a:t>economic empowerment</a:t>
            </a:r>
            <a:r>
              <a:rPr lang="en-GB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, we come together </a:t>
            </a:r>
            <a:r>
              <a:rPr lang="en-GB" sz="1800" b="0" i="0" u="none" strike="noStrike">
                <a:solidFill>
                  <a:srgbClr val="990000"/>
                </a:solidFill>
                <a:effectLst/>
                <a:latin typeface="Calibri" panose="020F0502020204030204" pitchFamily="34" charset="0"/>
              </a:rPr>
              <a:t>as Poor, as Women and as Workers </a:t>
            </a:r>
            <a:r>
              <a:rPr lang="en-GB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o fight against Poverty.</a:t>
            </a:r>
            <a:r>
              <a:rPr lang="en-US" sz="18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GB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SEWA adopts a holistic and integrated approach of</a:t>
            </a:r>
            <a:r>
              <a:rPr lang="en-US" sz="18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GB" sz="1800" b="1" i="0" u="none" strike="noStrike">
                <a:solidFill>
                  <a:srgbClr val="990000"/>
                </a:solidFill>
                <a:effectLst/>
                <a:latin typeface="Calibri" panose="020F0502020204030204" pitchFamily="34" charset="0"/>
              </a:rPr>
              <a:t> Organizing:</a:t>
            </a:r>
            <a:r>
              <a:rPr lang="en-GB" sz="1800" b="1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</a:t>
            </a:r>
            <a:r>
              <a:rPr lang="en-GB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is the key. It helps build collective strength and bargaining power. It also brings voice, visibility and Validity to women as workers</a:t>
            </a:r>
            <a:r>
              <a:rPr lang="en-US" sz="18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GB" sz="1800" b="1" i="0" u="none" strike="noStrike">
                <a:solidFill>
                  <a:srgbClr val="990000"/>
                </a:solidFill>
                <a:effectLst/>
                <a:latin typeface="Calibri" panose="020F0502020204030204" pitchFamily="34" charset="0"/>
              </a:rPr>
              <a:t> Capacity Building: </a:t>
            </a:r>
            <a:r>
              <a:rPr lang="en-US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o upskill, re-skill and diversify the existing skills of women to help them stand firm in the competitive markets</a:t>
            </a:r>
            <a:r>
              <a:rPr lang="en-US" sz="18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sz="1800" b="1" i="0" u="none" strike="noStrike">
                <a:solidFill>
                  <a:srgbClr val="990000"/>
                </a:solidFill>
                <a:effectLst/>
                <a:latin typeface="Calibri" panose="020F0502020204030204" pitchFamily="34" charset="0"/>
              </a:rPr>
              <a:t> Capital Formation: </a:t>
            </a:r>
            <a:r>
              <a:rPr lang="en-GB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sset creation is the surest way to Fight Poverty. Therefore, organizing women into their own SHGs / economic organizations</a:t>
            </a:r>
            <a:r>
              <a:rPr lang="en-US" sz="18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GB" sz="1800" b="1" i="0" u="none" strike="noStrike">
                <a:solidFill>
                  <a:srgbClr val="990000"/>
                </a:solidFill>
                <a:effectLst/>
                <a:latin typeface="Calibri" panose="020F0502020204030204" pitchFamily="34" charset="0"/>
              </a:rPr>
              <a:t> Social Protection: </a:t>
            </a:r>
            <a:r>
              <a:rPr lang="en-GB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ccess to basic support services healthcare, childcare, insurance, housing, and legal services.  </a:t>
            </a:r>
            <a:r>
              <a:rPr lang="en-GB" sz="18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en-GB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rtl="0"/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rtl="0"/>
            <a:fld id="{8530193B-564F-4854-8A52-728F3FB19C85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06730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algn="just" rtl="0" fontAlgn="base">
              <a:buFont typeface="Arial" panose="020B0604020202020204" pitchFamily="34" charset="0"/>
              <a:buChar char="•"/>
            </a:pPr>
            <a:r>
              <a:rPr lang="en-IN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Our Experience working with poor women over the past 5 decades has shown that </a:t>
            </a:r>
            <a:r>
              <a:rPr lang="en-IN" sz="1800" b="0" i="0" u="none" strike="noStrike">
                <a:solidFill>
                  <a:srgbClr val="990000"/>
                </a:solidFill>
                <a:effectLst/>
                <a:latin typeface="Calibri" panose="020F0502020204030204" pitchFamily="34" charset="0"/>
              </a:rPr>
              <a:t>Women do not need Charity</a:t>
            </a:r>
            <a:r>
              <a:rPr lang="en-US" sz="1800" b="0" i="0">
                <a:solidFill>
                  <a:srgbClr val="990000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just" rtl="0" fontAlgn="base">
              <a:buFont typeface="Arial" panose="020B0604020202020204" pitchFamily="34" charset="0"/>
              <a:buChar char="•"/>
            </a:pPr>
            <a:r>
              <a:rPr lang="en-IN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They need work… Work that provides </a:t>
            </a:r>
            <a:r>
              <a:rPr lang="en-US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 steady source of income and asset ownership can break one’s fall into the vicious circle of poverty and in indebtedness.</a:t>
            </a:r>
            <a:r>
              <a:rPr lang="en-US" sz="18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just" rtl="0" fontAlgn="base">
              <a:buFont typeface="Arial" panose="020B0604020202020204" pitchFamily="34" charset="0"/>
              <a:buChar char="•"/>
            </a:pPr>
            <a:r>
              <a:rPr lang="en-IN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 Therefore, SEWA has organized </a:t>
            </a:r>
            <a:r>
              <a:rPr lang="en-US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members based on their skills into their own collectives, cooperatives, federations, producer companies and micro-enterprises economic organizations.</a:t>
            </a:r>
            <a:r>
              <a:rPr lang="en-US" sz="18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just" rtl="0" fontAlgn="base">
              <a:buFont typeface="Arial" panose="020B0604020202020204" pitchFamily="34" charset="0"/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Till date, SEWA has built a family of over 4000 SHG’s, 120 cooperatives, 15 federations and 3 producer companies – all owned and managed by workers themselves.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rtl="0"/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rtl="0"/>
            <a:fld id="{8530193B-564F-4854-8A52-728F3FB19C85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96647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algn="l" rtl="0" fontAlgn="base">
              <a:buFont typeface="Arial" panose="020B0604020202020204" pitchFamily="34" charset="0"/>
              <a:buNone/>
            </a:pPr>
            <a:r>
              <a:rPr lang="en-GB" sz="1800" b="1" i="0" u="none" strike="noStrike">
                <a:solidFill>
                  <a:srgbClr val="990000"/>
                </a:solidFill>
                <a:effectLst/>
                <a:latin typeface="Calibri Light" panose="020F0302020204030204" pitchFamily="34" charset="0"/>
              </a:rPr>
              <a:t>Enabling Poor Women’s Wellbeing through SEWA’s Social Enterprises</a:t>
            </a:r>
            <a:r>
              <a:rPr lang="en-GB" sz="1800" b="0" i="0">
                <a:solidFill>
                  <a:srgbClr val="990000"/>
                </a:solidFill>
                <a:effectLst/>
                <a:latin typeface="Calibri Light" panose="020F0302020204030204" pitchFamily="34" charset="0"/>
              </a:rPr>
              <a:t>​</a:t>
            </a:r>
            <a:endParaRPr lang="en-US" sz="1800" b="0" i="0" u="none" strike="noStrike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Owned and managed by the members themselves – Members themselves are the shareholders. </a:t>
            </a:r>
            <a:r>
              <a:rPr lang="en-US" sz="18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Non-political, democratically functioning, often based on trusteeship. </a:t>
            </a:r>
            <a:r>
              <a:rPr lang="en-US" sz="18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Strengthen the livelihoods of its members </a:t>
            </a:r>
            <a:r>
              <a:rPr lang="en-US" sz="18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Increases their collective bargaining strength</a:t>
            </a:r>
            <a:r>
              <a:rPr lang="en-US" sz="18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Broadens access to market</a:t>
            </a:r>
            <a:r>
              <a:rPr lang="en-US" sz="18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Generate an array of employment opportunities for more women workers like them. </a:t>
            </a:r>
            <a:r>
              <a:rPr lang="en-US" sz="18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hybrid goals like capacity building and advocacy</a:t>
            </a:r>
            <a:r>
              <a:rPr lang="en-IN" sz="18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en-IN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rtl="0"/>
            <a:endParaRPr lang="en-GB"/>
          </a:p>
          <a:p>
            <a:pPr rtl="0"/>
            <a:r>
              <a:rPr lang="en-GB" err="1"/>
              <a:t>Hansiba</a:t>
            </a:r>
            <a:r>
              <a:rPr lang="en-GB"/>
              <a:t> - </a:t>
            </a:r>
            <a:r>
              <a:rPr lang="en-IN" sz="1800" b="0" i="0" u="none" strike="noStrike">
                <a:solidFill>
                  <a:srgbClr val="990000"/>
                </a:solidFill>
                <a:effectLst/>
                <a:latin typeface="Calibri" panose="020F0502020204030204" pitchFamily="34" charset="0"/>
              </a:rPr>
              <a:t>From Every Rupee spent at </a:t>
            </a:r>
            <a:r>
              <a:rPr lang="en-IN" sz="1800" b="0" i="0" u="none" strike="noStrike" err="1">
                <a:solidFill>
                  <a:srgbClr val="990000"/>
                </a:solidFill>
                <a:effectLst/>
                <a:latin typeface="Calibri" panose="020F0502020204030204" pitchFamily="34" charset="0"/>
              </a:rPr>
              <a:t>Hansiba</a:t>
            </a:r>
            <a:r>
              <a:rPr lang="en-IN" sz="1800" b="0" i="0" u="none" strike="noStrike">
                <a:solidFill>
                  <a:srgbClr val="990000"/>
                </a:solidFill>
                <a:effectLst/>
                <a:latin typeface="Calibri" panose="020F0502020204030204" pitchFamily="34" charset="0"/>
              </a:rPr>
              <a:t>, 60 Paisa goes directly to the Artisan </a:t>
            </a:r>
          </a:p>
          <a:p>
            <a:pPr rtl="0"/>
            <a:r>
              <a:rPr lang="en-IN" sz="1800" b="0" i="0" u="none" strike="noStrike">
                <a:solidFill>
                  <a:srgbClr val="990000"/>
                </a:solidFill>
                <a:effectLst/>
                <a:latin typeface="Calibri" panose="020F0502020204030204" pitchFamily="34" charset="0"/>
              </a:rPr>
              <a:t>Kamla - Every meal at Kamla provides livelihood to 6 poor families </a:t>
            </a:r>
          </a:p>
          <a:p>
            <a:pPr rtl="0"/>
            <a:r>
              <a:rPr lang="en-IN" sz="1800" b="0" i="0" u="none" strike="noStrike">
                <a:solidFill>
                  <a:srgbClr val="990000"/>
                </a:solidFill>
                <a:effectLst/>
                <a:latin typeface="Calibri" panose="020F0502020204030204" pitchFamily="34" charset="0"/>
              </a:rPr>
              <a:t>Final - Brings food and nutrition security to a million poor rural households.</a:t>
            </a:r>
          </a:p>
          <a:p>
            <a:pPr rtl="0"/>
            <a:endParaRPr lang="en-IN" sz="1800" b="1" i="0" u="none" strike="noStrike">
              <a:solidFill>
                <a:srgbClr val="990000"/>
              </a:solidFill>
              <a:effectLst/>
              <a:latin typeface="Calibri Light" panose="020F0302020204030204" pitchFamily="34" charset="0"/>
            </a:endParaRPr>
          </a:p>
          <a:p>
            <a:pPr rtl="0"/>
            <a:r>
              <a:rPr lang="en-IN" sz="1800" b="1" i="0" u="none" strike="noStrike">
                <a:solidFill>
                  <a:srgbClr val="990000"/>
                </a:solidFill>
                <a:effectLst/>
                <a:latin typeface="Calibri Light" panose="020F0302020204030204" pitchFamily="34" charset="0"/>
              </a:rPr>
              <a:t>Towards Sustainable Wellbeing – Addressing Socio-Cultural Norms through Social Enterprises</a:t>
            </a:r>
            <a:endParaRPr lang="en-IN" sz="1800" b="0" i="0" u="none" strike="noStrike">
              <a:solidFill>
                <a:srgbClr val="990000"/>
              </a:solidFill>
              <a:effectLst/>
              <a:latin typeface="Calibri" panose="020F0502020204030204" pitchFamily="34" charset="0"/>
            </a:endParaRPr>
          </a:p>
          <a:p>
            <a:pPr algn="l" rtl="0" fontAlgn="base"/>
            <a:r>
              <a:rPr lang="en-US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SEWA’s member-owned Social enterprises</a:t>
            </a:r>
            <a:r>
              <a:rPr lang="en-US" sz="18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/>
            <a:r>
              <a:rPr lang="en-US" sz="18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Apply commercial strategies to facilitate improvements in financial, social and environmental aspects of the members lives and livelihoods</a:t>
            </a:r>
            <a:r>
              <a:rPr lang="en-US" sz="18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Lead to an increase in number of educated girls in the families and villages of our first / second generation members</a:t>
            </a:r>
            <a:r>
              <a:rPr lang="en-US" sz="18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r>
              <a:rPr lang="en-US" sz="1800" b="0" i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.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Increased respect for women in the household, Community and Society</a:t>
            </a:r>
            <a:r>
              <a:rPr lang="en-US" sz="18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Increased negotiating power of SEWA’s members in their homes, workplaces as well as community</a:t>
            </a:r>
            <a:r>
              <a:rPr lang="en-US" sz="18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Increased assets in the name of women</a:t>
            </a:r>
            <a:r>
              <a:rPr lang="en-US" sz="1800" b="0" i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​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algn="l" rtl="0" fontAlgn="base">
              <a:buFont typeface="Arial" panose="020B0604020202020204" pitchFamily="34" charset="0"/>
              <a:buChar char="•"/>
            </a:pPr>
            <a:r>
              <a:rPr lang="en-US" sz="1800" b="0" i="0" u="none" strike="noStrike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 Reduction in rural out-migration. Thus, SEWA’s coops or enterprises have multiple bottom line.</a:t>
            </a:r>
            <a:endParaRPr lang="en-US" b="0" i="0">
              <a:solidFill>
                <a:srgbClr val="000000"/>
              </a:solidFill>
              <a:effectLst/>
              <a:latin typeface="Arial" panose="020B0604020202020204" pitchFamily="34" charset="0"/>
            </a:endParaRPr>
          </a:p>
          <a:p>
            <a:pPr rtl="0"/>
            <a:endParaRPr lang="en-GB" b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rtl="0"/>
            <a:fld id="{8530193B-564F-4854-8A52-728F3FB19C85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551371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 rtlCol="0"/>
          <a:lstStyle/>
          <a:p>
            <a:pPr rtl="0"/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 rtlCol="0"/>
          <a:lstStyle/>
          <a:p>
            <a:pPr rtl="0"/>
            <a:fld id="{8530193B-564F-4854-8A52-728F3FB19C85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099494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A86676D4-BE0D-4409-AD90-B5A80D163FB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82550" y="0"/>
            <a:ext cx="10264614" cy="11313204"/>
          </a:xfrm>
          <a:custGeom>
            <a:avLst/>
            <a:gdLst>
              <a:gd name="connsiteX0" fmla="*/ 0 w 10264614"/>
              <a:gd name="connsiteY0" fmla="*/ 0 h 11313204"/>
              <a:gd name="connsiteX1" fmla="*/ 10264614 w 10264614"/>
              <a:gd name="connsiteY1" fmla="*/ 0 h 11313204"/>
              <a:gd name="connsiteX2" fmla="*/ 8773665 w 10264614"/>
              <a:gd name="connsiteY2" fmla="*/ 11313204 h 11313204"/>
              <a:gd name="connsiteX3" fmla="*/ 28673 w 10264614"/>
              <a:gd name="connsiteY3" fmla="*/ 11313204 h 11313204"/>
              <a:gd name="connsiteX4" fmla="*/ 0 w 10264614"/>
              <a:gd name="connsiteY4" fmla="*/ 0 h 113132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64614" h="11313204">
                <a:moveTo>
                  <a:pt x="0" y="0"/>
                </a:moveTo>
                <a:lnTo>
                  <a:pt x="10264614" y="0"/>
                </a:lnTo>
                <a:lnTo>
                  <a:pt x="8773665" y="11313204"/>
                </a:lnTo>
                <a:lnTo>
                  <a:pt x="28673" y="11313204"/>
                </a:lnTo>
                <a:cubicBezTo>
                  <a:pt x="23894" y="7532601"/>
                  <a:pt x="19116" y="3751999"/>
                  <a:pt x="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GB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A29740D6-805F-46A7-AC4F-2353B24DDD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652250" y="3902075"/>
            <a:ext cx="7543800" cy="430887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2800">
                <a:solidFill>
                  <a:srgbClr val="333333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lvl="0"/>
            <a:r>
              <a:rPr lang="en-GB"/>
              <a:t>The text goes here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692680FA-F464-404F-BE66-FF70571100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652250" y="2301875"/>
            <a:ext cx="7543800" cy="615553"/>
          </a:xfrm>
        </p:spPr>
        <p:txBody>
          <a:bodyPr/>
          <a:lstStyle>
            <a:lvl1pPr>
              <a:defRPr sz="4000" b="1">
                <a:solidFill>
                  <a:srgbClr val="449BCC"/>
                </a:solidFill>
                <a:latin typeface="Comfortaa" pitchFamily="2" charset="0"/>
              </a:defRPr>
            </a:lvl1pPr>
          </a:lstStyle>
          <a:p>
            <a:pPr lvl="0"/>
            <a:r>
              <a:rPr lang="en-GB"/>
              <a:t>Enter Title Here</a:t>
            </a:r>
          </a:p>
        </p:txBody>
      </p:sp>
      <p:sp>
        <p:nvSpPr>
          <p:cNvPr id="31" name="object 16">
            <a:extLst>
              <a:ext uri="{FF2B5EF4-FFF2-40B4-BE49-F238E27FC236}">
                <a16:creationId xmlns:a16="http://schemas.microsoft.com/office/drawing/2014/main" id="{61349B90-90A2-4E37-A9D1-43A4E221C2B1}"/>
              </a:ext>
            </a:extLst>
          </p:cNvPr>
          <p:cNvSpPr/>
          <p:nvPr userDrawn="1"/>
        </p:nvSpPr>
        <p:spPr>
          <a:xfrm>
            <a:off x="0" y="0"/>
            <a:ext cx="3398421" cy="2675293"/>
          </a:xfrm>
          <a:custGeom>
            <a:avLst/>
            <a:gdLst/>
            <a:ahLst/>
            <a:cxnLst/>
            <a:rect l="l" t="t" r="r" b="b"/>
            <a:pathLst>
              <a:path w="4649470" h="3660140">
                <a:moveTo>
                  <a:pt x="4013500" y="0"/>
                </a:moveTo>
                <a:lnTo>
                  <a:pt x="0" y="0"/>
                </a:lnTo>
                <a:lnTo>
                  <a:pt x="0" y="3660108"/>
                </a:lnTo>
                <a:lnTo>
                  <a:pt x="4649125" y="2457768"/>
                </a:lnTo>
                <a:lnTo>
                  <a:pt x="401350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680A24CF-B1E3-4D28-9ED7-0559D1777BA6}"/>
              </a:ext>
            </a:extLst>
          </p:cNvPr>
          <p:cNvSpPr/>
          <p:nvPr userDrawn="1"/>
        </p:nvSpPr>
        <p:spPr>
          <a:xfrm rot="5858031">
            <a:off x="6898119" y="3379213"/>
            <a:ext cx="7174683" cy="296097"/>
          </a:xfrm>
          <a:custGeom>
            <a:avLst/>
            <a:gdLst>
              <a:gd name="connsiteX0" fmla="*/ 39686 w 7174683"/>
              <a:gd name="connsiteY0" fmla="*/ 296097 h 296097"/>
              <a:gd name="connsiteX1" fmla="*/ 0 w 7174683"/>
              <a:gd name="connsiteY1" fmla="*/ 0 h 296097"/>
              <a:gd name="connsiteX2" fmla="*/ 7174683 w 7174683"/>
              <a:gd name="connsiteY2" fmla="*/ 0 h 296097"/>
              <a:gd name="connsiteX3" fmla="*/ 7174683 w 7174683"/>
              <a:gd name="connsiteY3" fmla="*/ 296097 h 296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174683" h="296097">
                <a:moveTo>
                  <a:pt x="39686" y="296097"/>
                </a:moveTo>
                <a:lnTo>
                  <a:pt x="0" y="0"/>
                </a:lnTo>
                <a:lnTo>
                  <a:pt x="7174683" y="0"/>
                </a:lnTo>
                <a:lnTo>
                  <a:pt x="7174683" y="296097"/>
                </a:lnTo>
                <a:close/>
              </a:path>
            </a:pathLst>
          </a:custGeom>
          <a:gradFill flip="none" rotWithShape="1">
            <a:gsLst>
              <a:gs pos="49000">
                <a:srgbClr val="399C94"/>
              </a:gs>
              <a:gs pos="0">
                <a:srgbClr val="2E9C75"/>
              </a:gs>
              <a:gs pos="100000">
                <a:srgbClr val="3F9BC9"/>
              </a:gs>
            </a:gsLst>
            <a:lin ang="7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A136217C-C78A-4497-AA68-F9A0308A0F97}"/>
              </a:ext>
            </a:extLst>
          </p:cNvPr>
          <p:cNvSpPr/>
          <p:nvPr userDrawn="1"/>
        </p:nvSpPr>
        <p:spPr>
          <a:xfrm rot="5858031">
            <a:off x="5241595" y="4436205"/>
            <a:ext cx="9290176" cy="296097"/>
          </a:xfrm>
          <a:custGeom>
            <a:avLst/>
            <a:gdLst>
              <a:gd name="connsiteX0" fmla="*/ 39686 w 9290176"/>
              <a:gd name="connsiteY0" fmla="*/ 296097 h 296097"/>
              <a:gd name="connsiteX1" fmla="*/ 0 w 9290176"/>
              <a:gd name="connsiteY1" fmla="*/ 1 h 296097"/>
              <a:gd name="connsiteX2" fmla="*/ 9290176 w 9290176"/>
              <a:gd name="connsiteY2" fmla="*/ 0 h 296097"/>
              <a:gd name="connsiteX3" fmla="*/ 9290176 w 9290176"/>
              <a:gd name="connsiteY3" fmla="*/ 296097 h 296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90176" h="296097">
                <a:moveTo>
                  <a:pt x="39686" y="296097"/>
                </a:moveTo>
                <a:lnTo>
                  <a:pt x="0" y="1"/>
                </a:lnTo>
                <a:lnTo>
                  <a:pt x="9290176" y="0"/>
                </a:lnTo>
                <a:lnTo>
                  <a:pt x="9290176" y="296097"/>
                </a:lnTo>
                <a:close/>
              </a:path>
            </a:pathLst>
          </a:custGeom>
          <a:gradFill flip="none" rotWithShape="1">
            <a:gsLst>
              <a:gs pos="49000">
                <a:srgbClr val="399C94"/>
              </a:gs>
              <a:gs pos="0">
                <a:srgbClr val="2E9C75"/>
              </a:gs>
              <a:gs pos="100000">
                <a:srgbClr val="3F9BC9"/>
              </a:gs>
            </a:gsLst>
            <a:lin ang="7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pic>
        <p:nvPicPr>
          <p:cNvPr id="4" name="Picture 3" descr="Icon&#10;&#10;Description automatically generated">
            <a:extLst>
              <a:ext uri="{FF2B5EF4-FFF2-40B4-BE49-F238E27FC236}">
                <a16:creationId xmlns:a16="http://schemas.microsoft.com/office/drawing/2014/main" id="{D2C22DF0-2753-E5E2-982B-3344BAAFD69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409" y="755940"/>
            <a:ext cx="2391223" cy="94407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A29740D6-805F-46A7-AC4F-2353B24DDD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44846" y="3216275"/>
            <a:ext cx="8646433" cy="3447098"/>
          </a:xfrm>
        </p:spPr>
        <p:txBody>
          <a:bodyPr/>
          <a:lstStyle>
            <a:lvl1pPr>
              <a:defRPr sz="2800">
                <a:solidFill>
                  <a:srgbClr val="333333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The Ex his </a:t>
            </a:r>
            <a:r>
              <a:rPr lang="en-GB" err="1"/>
              <a:t>quidam</a:t>
            </a:r>
            <a:r>
              <a:rPr lang="en-GB"/>
              <a:t> </a:t>
            </a:r>
            <a:r>
              <a:rPr lang="en-GB" err="1"/>
              <a:t>aeternitati</a:t>
            </a:r>
            <a:r>
              <a:rPr lang="en-GB"/>
              <a:t> se </a:t>
            </a:r>
            <a:r>
              <a:rPr lang="en-GB" err="1"/>
              <a:t>commendari</a:t>
            </a:r>
            <a:r>
              <a:rPr lang="en-GB"/>
              <a:t> posse per </a:t>
            </a:r>
            <a:r>
              <a:rPr lang="en-GB" err="1"/>
              <a:t>statuas</a:t>
            </a:r>
            <a:r>
              <a:rPr lang="en-GB"/>
              <a:t> </a:t>
            </a:r>
            <a:r>
              <a:rPr lang="en-GB" err="1"/>
              <a:t>aestimantes</a:t>
            </a:r>
            <a:r>
              <a:rPr lang="en-GB"/>
              <a:t> </a:t>
            </a:r>
            <a:r>
              <a:rPr lang="en-GB" err="1"/>
              <a:t>eas</a:t>
            </a:r>
            <a:r>
              <a:rPr lang="en-GB"/>
              <a:t> </a:t>
            </a:r>
            <a:r>
              <a:rPr lang="en-GB" err="1"/>
              <a:t>ardenter</a:t>
            </a:r>
            <a:r>
              <a:rPr lang="en-GB"/>
              <a:t> </a:t>
            </a:r>
            <a:r>
              <a:rPr lang="en-GB" err="1"/>
              <a:t>adfectant</a:t>
            </a:r>
            <a:r>
              <a:rPr lang="en-GB"/>
              <a:t> quasi plus </a:t>
            </a:r>
            <a:r>
              <a:rPr lang="en-GB" err="1"/>
              <a:t>praemii</a:t>
            </a:r>
            <a:r>
              <a:rPr lang="en-GB"/>
              <a:t> de </a:t>
            </a:r>
            <a:r>
              <a:rPr lang="en-GB" err="1"/>
              <a:t>figmentis</a:t>
            </a:r>
            <a:r>
              <a:rPr lang="en-GB"/>
              <a:t> </a:t>
            </a:r>
            <a:r>
              <a:rPr lang="en-GB" err="1"/>
              <a:t>aereis</a:t>
            </a:r>
            <a:r>
              <a:rPr lang="en-GB"/>
              <a:t> </a:t>
            </a:r>
            <a:r>
              <a:rPr lang="en-GB" err="1"/>
              <a:t>sensu</a:t>
            </a:r>
            <a:r>
              <a:rPr lang="en-GB"/>
              <a:t> </a:t>
            </a:r>
            <a:r>
              <a:rPr lang="en-GB" err="1"/>
              <a:t>carentibus</a:t>
            </a:r>
            <a:r>
              <a:rPr lang="en-GB"/>
              <a:t> </a:t>
            </a:r>
            <a:r>
              <a:rPr lang="en-GB" err="1"/>
              <a:t>adepturi</a:t>
            </a:r>
            <a:r>
              <a:rPr lang="en-GB"/>
              <a:t>, </a:t>
            </a:r>
            <a:r>
              <a:rPr lang="en-GB" err="1"/>
              <a:t>quam</a:t>
            </a:r>
            <a:r>
              <a:rPr lang="en-GB"/>
              <a:t> ex </a:t>
            </a:r>
            <a:r>
              <a:rPr lang="en-GB" err="1"/>
              <a:t>conscientia</a:t>
            </a:r>
            <a:r>
              <a:rPr lang="en-GB"/>
              <a:t> </a:t>
            </a:r>
            <a:r>
              <a:rPr lang="en-GB" err="1"/>
              <a:t>honeste</a:t>
            </a:r>
            <a:r>
              <a:rPr lang="en-GB"/>
              <a:t> </a:t>
            </a:r>
            <a:r>
              <a:rPr lang="en-GB" err="1"/>
              <a:t>recteque</a:t>
            </a:r>
            <a:r>
              <a:rPr lang="en-GB"/>
              <a:t> </a:t>
            </a:r>
            <a:r>
              <a:rPr lang="en-GB" err="1"/>
              <a:t>factorum</a:t>
            </a:r>
            <a:r>
              <a:rPr lang="en-GB"/>
              <a:t>, </a:t>
            </a:r>
            <a:r>
              <a:rPr lang="en-GB" err="1"/>
              <a:t>easque</a:t>
            </a:r>
            <a:r>
              <a:rPr lang="en-GB"/>
              <a:t> </a:t>
            </a:r>
            <a:r>
              <a:rPr lang="en-GB" err="1"/>
              <a:t>auro</a:t>
            </a:r>
            <a:r>
              <a:rPr lang="en-GB"/>
              <a:t> </a:t>
            </a:r>
            <a:r>
              <a:rPr lang="en-GB" err="1"/>
              <a:t>curant</a:t>
            </a:r>
            <a:r>
              <a:rPr lang="en-GB"/>
              <a:t> </a:t>
            </a:r>
            <a:r>
              <a:rPr lang="en-GB" err="1"/>
              <a:t>inbracteari</a:t>
            </a:r>
            <a:r>
              <a:rPr lang="en-GB"/>
              <a:t>, quod </a:t>
            </a:r>
            <a:r>
              <a:rPr lang="en-GB" err="1"/>
              <a:t>Acilio</a:t>
            </a:r>
            <a:r>
              <a:rPr lang="en-GB"/>
              <a:t> </a:t>
            </a:r>
            <a:r>
              <a:rPr lang="en-GB" err="1"/>
              <a:t>Glabrioni</a:t>
            </a:r>
            <a:r>
              <a:rPr lang="en-GB"/>
              <a:t> </a:t>
            </a:r>
            <a:r>
              <a:rPr lang="en-GB" err="1"/>
              <a:t>delatum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primo, cum </a:t>
            </a:r>
            <a:r>
              <a:rPr lang="en-GB" err="1"/>
              <a:t>consiliis</a:t>
            </a:r>
            <a:r>
              <a:rPr lang="en-GB"/>
              <a:t> </a:t>
            </a:r>
            <a:r>
              <a:rPr lang="en-GB" err="1"/>
              <a:t>armisque</a:t>
            </a:r>
            <a:r>
              <a:rPr lang="en-GB"/>
              <a:t> </a:t>
            </a:r>
            <a:r>
              <a:rPr lang="en-GB" err="1"/>
              <a:t>regem</a:t>
            </a:r>
            <a:r>
              <a:rPr lang="en-GB"/>
              <a:t> </a:t>
            </a:r>
            <a:r>
              <a:rPr lang="en-GB" err="1"/>
              <a:t>superasset</a:t>
            </a:r>
            <a:r>
              <a:rPr lang="en-GB"/>
              <a:t> </a:t>
            </a:r>
            <a:r>
              <a:rPr lang="en-GB" err="1"/>
              <a:t>Antiochum</a:t>
            </a:r>
            <a:endParaRPr lang="en-GB"/>
          </a:p>
          <a:p>
            <a:pPr lvl="0"/>
            <a:endParaRPr lang="en-GB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692680FA-F464-404F-BE66-FF70571100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70050" y="1311275"/>
            <a:ext cx="7543800" cy="615553"/>
          </a:xfrm>
        </p:spPr>
        <p:txBody>
          <a:bodyPr/>
          <a:lstStyle>
            <a:lvl1pPr>
              <a:defRPr sz="4000" b="1">
                <a:solidFill>
                  <a:srgbClr val="449BCC"/>
                </a:solidFill>
                <a:latin typeface="Comfortaa" pitchFamily="2" charset="0"/>
              </a:defRPr>
            </a:lvl1pPr>
          </a:lstStyle>
          <a:p>
            <a:pPr lvl="0"/>
            <a:r>
              <a:rPr lang="en-GB"/>
              <a:t>Enter Title Her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20EF20D-2987-1C51-4957-22A6425FE70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6671367" y="451127"/>
            <a:ext cx="2635034" cy="1040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8110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692680FA-F464-404F-BE66-FF70571100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70050" y="1311275"/>
            <a:ext cx="7543800" cy="615553"/>
          </a:xfrm>
        </p:spPr>
        <p:txBody>
          <a:bodyPr/>
          <a:lstStyle>
            <a:lvl1pPr>
              <a:defRPr sz="4000" b="1">
                <a:solidFill>
                  <a:srgbClr val="449BCC"/>
                </a:solidFill>
                <a:latin typeface="Comfortaa" pitchFamily="2" charset="0"/>
              </a:defRPr>
            </a:lvl1pPr>
          </a:lstStyle>
          <a:p>
            <a:pPr lvl="0"/>
            <a:r>
              <a:rPr lang="en-GB"/>
              <a:t>Enter Title Here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8174BBD6-748E-418F-A8BB-67D528811DF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948806" y="2840308"/>
            <a:ext cx="7543800" cy="7543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F7B71BF-A0CA-76E8-CA10-B8A3B6D8D4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6671367" y="451127"/>
            <a:ext cx="2635034" cy="1040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93932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28">
            <a:extLst>
              <a:ext uri="{FF2B5EF4-FFF2-40B4-BE49-F238E27FC236}">
                <a16:creationId xmlns:a16="http://schemas.microsoft.com/office/drawing/2014/main" id="{E4242377-5891-43EB-88F2-BE68C3E5821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70050" y="1311275"/>
            <a:ext cx="7543800" cy="615553"/>
          </a:xfrm>
        </p:spPr>
        <p:txBody>
          <a:bodyPr/>
          <a:lstStyle>
            <a:lvl1pPr>
              <a:defRPr sz="4000" b="1">
                <a:solidFill>
                  <a:srgbClr val="449BCC"/>
                </a:solidFill>
                <a:latin typeface="Comfortaa" pitchFamily="2" charset="0"/>
              </a:defRPr>
            </a:lvl1pPr>
          </a:lstStyle>
          <a:p>
            <a:pPr lvl="0"/>
            <a:r>
              <a:rPr lang="en-GB"/>
              <a:t>Enter Title Here</a:t>
            </a:r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43E03-ECFC-4388-A292-418208DB665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942031" y="3181255"/>
            <a:ext cx="10972800" cy="6816820"/>
          </a:xfrm>
          <a:prstGeom prst="roundRect">
            <a:avLst>
              <a:gd name="adj" fmla="val 7179"/>
            </a:avLst>
          </a:prstGeom>
          <a:noFill/>
        </p:spPr>
        <p:txBody>
          <a:bodyPr/>
          <a:lstStyle/>
          <a:p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09288A5-3699-EDFD-E08C-C98E15B0D2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6671367" y="451127"/>
            <a:ext cx="2635034" cy="1040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2959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1507807" y="3505898"/>
            <a:ext cx="17088486" cy="237496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3015615" y="6333236"/>
            <a:ext cx="14072870" cy="28273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22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950" b="1" i="0">
                <a:solidFill>
                  <a:srgbClr val="3F9BC9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22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950" b="1" i="0">
                <a:solidFill>
                  <a:srgbClr val="3F9BC9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1005205" y="2601150"/>
            <a:ext cx="8745284" cy="74641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10353611" y="2601150"/>
            <a:ext cx="8745284" cy="74641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22/2023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4950" b="1" i="0">
                <a:solidFill>
                  <a:srgbClr val="3F9BC9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22/20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22/2023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  <p:grpSp>
        <p:nvGrpSpPr>
          <p:cNvPr id="8" name="object 6">
            <a:extLst>
              <a:ext uri="{FF2B5EF4-FFF2-40B4-BE49-F238E27FC236}">
                <a16:creationId xmlns:a16="http://schemas.microsoft.com/office/drawing/2014/main" id="{F77C4504-717D-4837-8879-1E6683E22B3C}"/>
              </a:ext>
            </a:extLst>
          </p:cNvPr>
          <p:cNvGrpSpPr/>
          <p:nvPr userDrawn="1"/>
        </p:nvGrpSpPr>
        <p:grpSpPr>
          <a:xfrm>
            <a:off x="8729980" y="-4013"/>
            <a:ext cx="11374120" cy="11308715"/>
            <a:chOff x="8730470" y="0"/>
            <a:chExt cx="11374120" cy="11308715"/>
          </a:xfrm>
        </p:grpSpPr>
        <p:pic>
          <p:nvPicPr>
            <p:cNvPr id="9" name="object 7">
              <a:extLst>
                <a:ext uri="{FF2B5EF4-FFF2-40B4-BE49-F238E27FC236}">
                  <a16:creationId xmlns:a16="http://schemas.microsoft.com/office/drawing/2014/main" id="{2C70E5DC-B9A9-4C97-9E4F-7B366A1E4FA5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15085572" y="376952"/>
              <a:ext cx="1620107" cy="1624055"/>
            </a:xfrm>
            <a:prstGeom prst="rect">
              <a:avLst/>
            </a:prstGeom>
          </p:spPr>
        </p:pic>
        <p:sp>
          <p:nvSpPr>
            <p:cNvPr id="10" name="object 8">
              <a:extLst>
                <a:ext uri="{FF2B5EF4-FFF2-40B4-BE49-F238E27FC236}">
                  <a16:creationId xmlns:a16="http://schemas.microsoft.com/office/drawing/2014/main" id="{1CF451FA-151D-461B-8412-85A7A77F9C75}"/>
                </a:ext>
              </a:extLst>
            </p:cNvPr>
            <p:cNvSpPr/>
            <p:nvPr/>
          </p:nvSpPr>
          <p:spPr>
            <a:xfrm>
              <a:off x="8730470" y="0"/>
              <a:ext cx="11374120" cy="11308715"/>
            </a:xfrm>
            <a:custGeom>
              <a:avLst/>
              <a:gdLst/>
              <a:ahLst/>
              <a:cxnLst/>
              <a:rect l="l" t="t" r="r" b="b"/>
              <a:pathLst>
                <a:path w="11374119" h="11308715">
                  <a:moveTo>
                    <a:pt x="11373622" y="0"/>
                  </a:moveTo>
                  <a:lnTo>
                    <a:pt x="1438626" y="0"/>
                  </a:lnTo>
                  <a:lnTo>
                    <a:pt x="0" y="11308556"/>
                  </a:lnTo>
                  <a:lnTo>
                    <a:pt x="11373622" y="11308556"/>
                  </a:lnTo>
                  <a:lnTo>
                    <a:pt x="11373622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5453979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(with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8">
            <a:extLst>
              <a:ext uri="{FF2B5EF4-FFF2-40B4-BE49-F238E27FC236}">
                <a16:creationId xmlns:a16="http://schemas.microsoft.com/office/drawing/2014/main" id="{F759DD16-F627-ED25-C0C9-0D6D34AEFCC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20104100" cy="11309350"/>
          </a:xfrm>
          <a:prstGeom prst="rect">
            <a:avLst/>
          </a:prstGeom>
        </p:spPr>
      </p:pic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140D1306-286B-D86B-C6B5-BC2A0E54B2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6354" y="909847"/>
            <a:ext cx="8431681" cy="5227011"/>
          </a:xfrm>
        </p:spPr>
        <p:txBody>
          <a:bodyPr anchor="b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719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74A8F2DB-B148-88A1-2854-99FF5E6E5E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86354" y="6399155"/>
            <a:ext cx="8431681" cy="1033768"/>
          </a:xfrm>
        </p:spPr>
        <p:txBody>
          <a:bodyPr>
            <a:normAutofit/>
          </a:bodyPr>
          <a:lstStyle>
            <a:lvl1pPr marL="0" indent="0">
              <a:buNone/>
              <a:defRPr sz="4617" b="0">
                <a:solidFill>
                  <a:srgbClr val="47D985"/>
                </a:solidFill>
              </a:defRPr>
            </a:lvl1pPr>
          </a:lstStyle>
          <a:p>
            <a:pPr lvl="0"/>
            <a:r>
              <a:rPr lang="en-GB"/>
              <a:t>25.08.2022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BAB5E7E1-25E5-E81B-80F1-16B46ADD72C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0736169" y="0"/>
            <a:ext cx="9367932" cy="11313773"/>
          </a:xfrm>
          <a:custGeom>
            <a:avLst/>
            <a:gdLst>
              <a:gd name="connsiteX0" fmla="*/ 1792436 w 5681121"/>
              <a:gd name="connsiteY0" fmla="*/ 0 h 6860682"/>
              <a:gd name="connsiteX1" fmla="*/ 2607541 w 5681121"/>
              <a:gd name="connsiteY1" fmla="*/ 0 h 6860682"/>
              <a:gd name="connsiteX2" fmla="*/ 2321681 w 5681121"/>
              <a:gd name="connsiteY2" fmla="*/ 154750 h 6860682"/>
              <a:gd name="connsiteX3" fmla="*/ 425552 w 5681121"/>
              <a:gd name="connsiteY3" fmla="*/ 3013901 h 6860682"/>
              <a:gd name="connsiteX4" fmla="*/ 2076495 w 5681121"/>
              <a:gd name="connsiteY4" fmla="*/ 6858000 h 6860682"/>
              <a:gd name="connsiteX5" fmla="*/ 2432852 w 5681121"/>
              <a:gd name="connsiteY5" fmla="*/ 6858000 h 6860682"/>
              <a:gd name="connsiteX6" fmla="*/ 1106412 w 5681121"/>
              <a:gd name="connsiteY6" fmla="*/ 5293106 h 6860682"/>
              <a:gd name="connsiteX7" fmla="*/ 1023986 w 5681121"/>
              <a:gd name="connsiteY7" fmla="*/ 2390775 h 6860682"/>
              <a:gd name="connsiteX8" fmla="*/ 2893654 w 5681121"/>
              <a:gd name="connsiteY8" fmla="*/ 180594 h 6860682"/>
              <a:gd name="connsiteX9" fmla="*/ 3293858 w 5681121"/>
              <a:gd name="connsiteY9" fmla="*/ 0 h 6860682"/>
              <a:gd name="connsiteX10" fmla="*/ 5681121 w 5681121"/>
              <a:gd name="connsiteY10" fmla="*/ 0 h 6860682"/>
              <a:gd name="connsiteX11" fmla="*/ 5681121 w 5681121"/>
              <a:gd name="connsiteY11" fmla="*/ 6860682 h 6860682"/>
              <a:gd name="connsiteX12" fmla="*/ 1585041 w 5681121"/>
              <a:gd name="connsiteY12" fmla="*/ 6860682 h 6860682"/>
              <a:gd name="connsiteX13" fmla="*/ 243389 w 5681121"/>
              <a:gd name="connsiteY13" fmla="*/ 5161393 h 6860682"/>
              <a:gd name="connsiteX14" fmla="*/ 1792436 w 5681121"/>
              <a:gd name="connsiteY14" fmla="*/ 0 h 6860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5681121" h="6860682">
                <a:moveTo>
                  <a:pt x="1792436" y="0"/>
                </a:moveTo>
                <a:lnTo>
                  <a:pt x="2607541" y="0"/>
                </a:lnTo>
                <a:cubicBezTo>
                  <a:pt x="2510774" y="47498"/>
                  <a:pt x="2415402" y="99124"/>
                  <a:pt x="2321681" y="154750"/>
                </a:cubicBezTo>
                <a:cubicBezTo>
                  <a:pt x="1288842" y="768668"/>
                  <a:pt x="597702" y="1810830"/>
                  <a:pt x="425552" y="3013901"/>
                </a:cubicBezTo>
                <a:cubicBezTo>
                  <a:pt x="204732" y="4511612"/>
                  <a:pt x="884704" y="6005132"/>
                  <a:pt x="2076495" y="6858000"/>
                </a:cubicBezTo>
                <a:lnTo>
                  <a:pt x="2432852" y="6858000"/>
                </a:lnTo>
                <a:cubicBezTo>
                  <a:pt x="1849901" y="6480620"/>
                  <a:pt x="1391257" y="5943664"/>
                  <a:pt x="1106412" y="5293106"/>
                </a:cubicBezTo>
                <a:cubicBezTo>
                  <a:pt x="712427" y="4393375"/>
                  <a:pt x="683175" y="3362643"/>
                  <a:pt x="1023986" y="2390775"/>
                </a:cubicBezTo>
                <a:cubicBezTo>
                  <a:pt x="1363971" y="1420940"/>
                  <a:pt x="2027382" y="635699"/>
                  <a:pt x="2893654" y="180594"/>
                </a:cubicBezTo>
                <a:cubicBezTo>
                  <a:pt x="3024433" y="111760"/>
                  <a:pt x="3158003" y="51562"/>
                  <a:pt x="3293858" y="0"/>
                </a:cubicBezTo>
                <a:lnTo>
                  <a:pt x="5681121" y="0"/>
                </a:lnTo>
                <a:lnTo>
                  <a:pt x="5681121" y="6860682"/>
                </a:lnTo>
                <a:lnTo>
                  <a:pt x="1585041" y="6860682"/>
                </a:lnTo>
                <a:cubicBezTo>
                  <a:pt x="976954" y="6494907"/>
                  <a:pt x="492377" y="5932458"/>
                  <a:pt x="243389" y="5161393"/>
                </a:cubicBezTo>
                <a:cubicBezTo>
                  <a:pt x="-352570" y="3349919"/>
                  <a:pt x="139246" y="1030182"/>
                  <a:pt x="1792436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r>
              <a:rPr lang="en-GB"/>
              <a:t>Click icon to add picture</a:t>
            </a:r>
          </a:p>
        </p:txBody>
      </p:sp>
      <p:grpSp>
        <p:nvGrpSpPr>
          <p:cNvPr id="3" name="Graphic 77">
            <a:extLst>
              <a:ext uri="{FF2B5EF4-FFF2-40B4-BE49-F238E27FC236}">
                <a16:creationId xmlns:a16="http://schemas.microsoft.com/office/drawing/2014/main" id="{9F893BB0-7DF6-1882-0B79-6A8826A2134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86354" y="8054103"/>
            <a:ext cx="4203553" cy="1538843"/>
            <a:chOff x="4489439" y="2838428"/>
            <a:chExt cx="3217768" cy="1177883"/>
          </a:xfrm>
          <a:solidFill>
            <a:schemeClr val="bg1"/>
          </a:solidFill>
        </p:grpSpPr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6E151A0C-A34C-2591-5887-5019D4E2FB9A}"/>
                </a:ext>
              </a:extLst>
            </p:cNvPr>
            <p:cNvSpPr/>
            <p:nvPr/>
          </p:nvSpPr>
          <p:spPr>
            <a:xfrm>
              <a:off x="4489439" y="2838428"/>
              <a:ext cx="3217388" cy="1177883"/>
            </a:xfrm>
            <a:custGeom>
              <a:avLst/>
              <a:gdLst>
                <a:gd name="connsiteX0" fmla="*/ 1527089 w 3217388"/>
                <a:gd name="connsiteY0" fmla="*/ 295107 h 1177883"/>
                <a:gd name="connsiteX1" fmla="*/ 1705520 w 3217388"/>
                <a:gd name="connsiteY1" fmla="*/ 295107 h 1177883"/>
                <a:gd name="connsiteX2" fmla="*/ 1705520 w 3217388"/>
                <a:gd name="connsiteY2" fmla="*/ 947283 h 1177883"/>
                <a:gd name="connsiteX3" fmla="*/ 1527089 w 3217388"/>
                <a:gd name="connsiteY3" fmla="*/ 947283 h 1177883"/>
                <a:gd name="connsiteX4" fmla="*/ 1527089 w 3217388"/>
                <a:gd name="connsiteY4" fmla="*/ 295107 h 1177883"/>
                <a:gd name="connsiteX5" fmla="*/ 2318481 w 3217388"/>
                <a:gd name="connsiteY5" fmla="*/ 4403 h 1177883"/>
                <a:gd name="connsiteX6" fmla="*/ 2318481 w 3217388"/>
                <a:gd name="connsiteY6" fmla="*/ 386070 h 1177883"/>
                <a:gd name="connsiteX7" fmla="*/ 2100884 w 3217388"/>
                <a:gd name="connsiteY7" fmla="*/ 274533 h 1177883"/>
                <a:gd name="connsiteX8" fmla="*/ 1939848 w 3217388"/>
                <a:gd name="connsiteY8" fmla="*/ 318919 h 1177883"/>
                <a:gd name="connsiteX9" fmla="*/ 1819785 w 3217388"/>
                <a:gd name="connsiteY9" fmla="*/ 441792 h 1177883"/>
                <a:gd name="connsiteX10" fmla="*/ 1776817 w 3217388"/>
                <a:gd name="connsiteY10" fmla="*/ 620576 h 1177883"/>
                <a:gd name="connsiteX11" fmla="*/ 1819785 w 3217388"/>
                <a:gd name="connsiteY11" fmla="*/ 800027 h 1177883"/>
                <a:gd name="connsiteX12" fmla="*/ 1940419 w 3217388"/>
                <a:gd name="connsiteY12" fmla="*/ 922899 h 1177883"/>
                <a:gd name="connsiteX13" fmla="*/ 2111816 w 3217388"/>
                <a:gd name="connsiteY13" fmla="*/ 966619 h 1177883"/>
                <a:gd name="connsiteX14" fmla="*/ 2318481 w 3217388"/>
                <a:gd name="connsiteY14" fmla="*/ 864606 h 1177883"/>
                <a:gd name="connsiteX15" fmla="*/ 2318481 w 3217388"/>
                <a:gd name="connsiteY15" fmla="*/ 947283 h 1177883"/>
                <a:gd name="connsiteX16" fmla="*/ 2496913 w 3217388"/>
                <a:gd name="connsiteY16" fmla="*/ 947283 h 1177883"/>
                <a:gd name="connsiteX17" fmla="*/ 2496913 w 3217388"/>
                <a:gd name="connsiteY17" fmla="*/ 4403 h 1177883"/>
                <a:gd name="connsiteX18" fmla="*/ 2318481 w 3217388"/>
                <a:gd name="connsiteY18" fmla="*/ 4403 h 1177883"/>
                <a:gd name="connsiteX19" fmla="*/ 2146323 w 3217388"/>
                <a:gd name="connsiteY19" fmla="*/ 813648 h 1177883"/>
                <a:gd name="connsiteX20" fmla="*/ 1957815 w 3217388"/>
                <a:gd name="connsiteY20" fmla="*/ 620576 h 1177883"/>
                <a:gd name="connsiteX21" fmla="*/ 2146323 w 3217388"/>
                <a:gd name="connsiteY21" fmla="*/ 427504 h 1177883"/>
                <a:gd name="connsiteX22" fmla="*/ 2334832 w 3217388"/>
                <a:gd name="connsiteY22" fmla="*/ 620576 h 1177883"/>
                <a:gd name="connsiteX23" fmla="*/ 2146323 w 3217388"/>
                <a:gd name="connsiteY23" fmla="*/ 813648 h 1177883"/>
                <a:gd name="connsiteX24" fmla="*/ 3186113 w 3217388"/>
                <a:gd name="connsiteY24" fmla="*/ 403787 h 1177883"/>
                <a:gd name="connsiteX25" fmla="*/ 3097515 w 3217388"/>
                <a:gd name="connsiteY25" fmla="*/ 307298 h 1177883"/>
                <a:gd name="connsiteX26" fmla="*/ 2959485 w 3217388"/>
                <a:gd name="connsiteY26" fmla="*/ 274533 h 1177883"/>
                <a:gd name="connsiteX27" fmla="*/ 2759189 w 3217388"/>
                <a:gd name="connsiteY27" fmla="*/ 385975 h 1177883"/>
                <a:gd name="connsiteX28" fmla="*/ 2759189 w 3217388"/>
                <a:gd name="connsiteY28" fmla="*/ 4403 h 1177883"/>
                <a:gd name="connsiteX29" fmla="*/ 2580567 w 3217388"/>
                <a:gd name="connsiteY29" fmla="*/ 4403 h 1177883"/>
                <a:gd name="connsiteX30" fmla="*/ 2580567 w 3217388"/>
                <a:gd name="connsiteY30" fmla="*/ 947283 h 1177883"/>
                <a:gd name="connsiteX31" fmla="*/ 2759094 w 3217388"/>
                <a:gd name="connsiteY31" fmla="*/ 947283 h 1177883"/>
                <a:gd name="connsiteX32" fmla="*/ 2759094 w 3217388"/>
                <a:gd name="connsiteY32" fmla="*/ 598097 h 1177883"/>
                <a:gd name="connsiteX33" fmla="*/ 2902162 w 3217388"/>
                <a:gd name="connsiteY33" fmla="*/ 429219 h 1177883"/>
                <a:gd name="connsiteX34" fmla="*/ 3038957 w 3217388"/>
                <a:gd name="connsiteY34" fmla="*/ 598097 h 1177883"/>
                <a:gd name="connsiteX35" fmla="*/ 3038957 w 3217388"/>
                <a:gd name="connsiteY35" fmla="*/ 947283 h 1177883"/>
                <a:gd name="connsiteX36" fmla="*/ 3217388 w 3217388"/>
                <a:gd name="connsiteY36" fmla="*/ 947283 h 1177883"/>
                <a:gd name="connsiteX37" fmla="*/ 3217388 w 3217388"/>
                <a:gd name="connsiteY37" fmla="*/ 560092 h 1177883"/>
                <a:gd name="connsiteX38" fmla="*/ 3185923 w 3217388"/>
                <a:gd name="connsiteY38" fmla="*/ 403787 h 1177883"/>
                <a:gd name="connsiteX39" fmla="*/ 1731282 w 3217388"/>
                <a:gd name="connsiteY39" fmla="*/ 100701 h 1177883"/>
                <a:gd name="connsiteX40" fmla="*/ 1615972 w 3217388"/>
                <a:gd name="connsiteY40" fmla="*/ 216906 h 1177883"/>
                <a:gd name="connsiteX41" fmla="*/ 1507221 w 3217388"/>
                <a:gd name="connsiteY41" fmla="*/ 156803 h 1177883"/>
                <a:gd name="connsiteX42" fmla="*/ 1560836 w 3217388"/>
                <a:gd name="connsiteY42" fmla="*/ 8499 h 1177883"/>
                <a:gd name="connsiteX43" fmla="*/ 1731187 w 3217388"/>
                <a:gd name="connsiteY43" fmla="*/ 100606 h 1177883"/>
                <a:gd name="connsiteX44" fmla="*/ 1731187 w 3217388"/>
                <a:gd name="connsiteY44" fmla="*/ 100606 h 1177883"/>
                <a:gd name="connsiteX45" fmla="*/ 243274 w 3217388"/>
                <a:gd name="connsiteY45" fmla="*/ 1020912 h 1177883"/>
                <a:gd name="connsiteX46" fmla="*/ 250974 w 3217388"/>
                <a:gd name="connsiteY46" fmla="*/ 1046439 h 1177883"/>
                <a:gd name="connsiteX47" fmla="*/ 217798 w 3217388"/>
                <a:gd name="connsiteY47" fmla="*/ 1047010 h 1177883"/>
                <a:gd name="connsiteX48" fmla="*/ 198975 w 3217388"/>
                <a:gd name="connsiteY48" fmla="*/ 1012625 h 1177883"/>
                <a:gd name="connsiteX49" fmla="*/ 243274 w 3217388"/>
                <a:gd name="connsiteY49" fmla="*/ 1020912 h 1177883"/>
                <a:gd name="connsiteX50" fmla="*/ 848820 w 3217388"/>
                <a:gd name="connsiteY50" fmla="*/ 564283 h 1177883"/>
                <a:gd name="connsiteX51" fmla="*/ 826290 w 3217388"/>
                <a:gd name="connsiteY51" fmla="*/ 650103 h 1177883"/>
                <a:gd name="connsiteX52" fmla="*/ 712121 w 3217388"/>
                <a:gd name="connsiteY52" fmla="*/ 716302 h 1177883"/>
                <a:gd name="connsiteX53" fmla="*/ 683507 w 3217388"/>
                <a:gd name="connsiteY53" fmla="*/ 719255 h 1177883"/>
                <a:gd name="connsiteX54" fmla="*/ 564489 w 3217388"/>
                <a:gd name="connsiteY54" fmla="*/ 646103 h 1177883"/>
                <a:gd name="connsiteX55" fmla="*/ 631223 w 3217388"/>
                <a:gd name="connsiteY55" fmla="*/ 446173 h 1177883"/>
                <a:gd name="connsiteX56" fmla="*/ 765451 w 3217388"/>
                <a:gd name="connsiteY56" fmla="*/ 454841 h 1177883"/>
                <a:gd name="connsiteX57" fmla="*/ 848915 w 3217388"/>
                <a:gd name="connsiteY57" fmla="*/ 563997 h 1177883"/>
                <a:gd name="connsiteX58" fmla="*/ 848915 w 3217388"/>
                <a:gd name="connsiteY58" fmla="*/ 564188 h 1177883"/>
                <a:gd name="connsiteX59" fmla="*/ 808039 w 3217388"/>
                <a:gd name="connsiteY59" fmla="*/ 570760 h 1177883"/>
                <a:gd name="connsiteX60" fmla="*/ 718680 w 3217388"/>
                <a:gd name="connsiteY60" fmla="*/ 484749 h 1177883"/>
                <a:gd name="connsiteX61" fmla="*/ 692158 w 3217388"/>
                <a:gd name="connsiteY61" fmla="*/ 481511 h 1177883"/>
                <a:gd name="connsiteX62" fmla="*/ 624759 w 3217388"/>
                <a:gd name="connsiteY62" fmla="*/ 514182 h 1177883"/>
                <a:gd name="connsiteX63" fmla="*/ 612211 w 3217388"/>
                <a:gd name="connsiteY63" fmla="*/ 626291 h 1177883"/>
                <a:gd name="connsiteX64" fmla="*/ 684933 w 3217388"/>
                <a:gd name="connsiteY64" fmla="*/ 671058 h 1177883"/>
                <a:gd name="connsiteX65" fmla="*/ 788076 w 3217388"/>
                <a:gd name="connsiteY65" fmla="*/ 630006 h 1177883"/>
                <a:gd name="connsiteX66" fmla="*/ 807943 w 3217388"/>
                <a:gd name="connsiteY66" fmla="*/ 570665 h 1177883"/>
                <a:gd name="connsiteX67" fmla="*/ 893024 w 3217388"/>
                <a:gd name="connsiteY67" fmla="*/ 502656 h 1177883"/>
                <a:gd name="connsiteX68" fmla="*/ 838173 w 3217388"/>
                <a:gd name="connsiteY68" fmla="*/ 782977 h 1177883"/>
                <a:gd name="connsiteX69" fmla="*/ 677043 w 3217388"/>
                <a:gd name="connsiteY69" fmla="*/ 846414 h 1177883"/>
                <a:gd name="connsiteX70" fmla="*/ 622097 w 3217388"/>
                <a:gd name="connsiteY70" fmla="*/ 840508 h 1177883"/>
                <a:gd name="connsiteX71" fmla="*/ 418569 w 3217388"/>
                <a:gd name="connsiteY71" fmla="*/ 675059 h 1177883"/>
                <a:gd name="connsiteX72" fmla="*/ 419710 w 3217388"/>
                <a:gd name="connsiteY72" fmla="*/ 475224 h 1177883"/>
                <a:gd name="connsiteX73" fmla="*/ 569147 w 3217388"/>
                <a:gd name="connsiteY73" fmla="*/ 334254 h 1177883"/>
                <a:gd name="connsiteX74" fmla="*/ 753663 w 3217388"/>
                <a:gd name="connsiteY74" fmla="*/ 342922 h 1177883"/>
                <a:gd name="connsiteX75" fmla="*/ 893024 w 3217388"/>
                <a:gd name="connsiteY75" fmla="*/ 502561 h 1177883"/>
                <a:gd name="connsiteX76" fmla="*/ 880381 w 3217388"/>
                <a:gd name="connsiteY76" fmla="*/ 507323 h 1177883"/>
                <a:gd name="connsiteX77" fmla="*/ 880381 w 3217388"/>
                <a:gd name="connsiteY77" fmla="*/ 507323 h 1177883"/>
                <a:gd name="connsiteX78" fmla="*/ 670198 w 3217388"/>
                <a:gd name="connsiteY78" fmla="*/ 370449 h 1177883"/>
                <a:gd name="connsiteX79" fmla="*/ 669153 w 3217388"/>
                <a:gd name="connsiteY79" fmla="*/ 370449 h 1177883"/>
                <a:gd name="connsiteX80" fmla="*/ 485588 w 3217388"/>
                <a:gd name="connsiteY80" fmla="*/ 460746 h 1177883"/>
                <a:gd name="connsiteX81" fmla="*/ 448704 w 3217388"/>
                <a:gd name="connsiteY81" fmla="*/ 664391 h 1177883"/>
                <a:gd name="connsiteX82" fmla="*/ 557170 w 3217388"/>
                <a:gd name="connsiteY82" fmla="*/ 793264 h 1177883"/>
                <a:gd name="connsiteX83" fmla="*/ 734270 w 3217388"/>
                <a:gd name="connsiteY83" fmla="*/ 794121 h 1177883"/>
                <a:gd name="connsiteX84" fmla="*/ 880381 w 3217388"/>
                <a:gd name="connsiteY84" fmla="*/ 507419 h 1177883"/>
                <a:gd name="connsiteX85" fmla="*/ 634645 w 3217388"/>
                <a:gd name="connsiteY85" fmla="*/ 996051 h 1177883"/>
                <a:gd name="connsiteX86" fmla="*/ 488535 w 3217388"/>
                <a:gd name="connsiteY86" fmla="*/ 966524 h 1177883"/>
                <a:gd name="connsiteX87" fmla="*/ 255062 w 3217388"/>
                <a:gd name="connsiteY87" fmla="*/ 426742 h 1177883"/>
                <a:gd name="connsiteX88" fmla="*/ 580460 w 3217388"/>
                <a:gd name="connsiteY88" fmla="*/ 157280 h 1177883"/>
                <a:gd name="connsiteX89" fmla="*/ 969359 w 3217388"/>
                <a:gd name="connsiteY89" fmla="*/ 317490 h 1177883"/>
                <a:gd name="connsiteX90" fmla="*/ 1014704 w 3217388"/>
                <a:gd name="connsiteY90" fmla="*/ 721255 h 1177883"/>
                <a:gd name="connsiteX91" fmla="*/ 785129 w 3217388"/>
                <a:gd name="connsiteY91" fmla="*/ 964714 h 1177883"/>
                <a:gd name="connsiteX92" fmla="*/ 634645 w 3217388"/>
                <a:gd name="connsiteY92" fmla="*/ 996051 h 1177883"/>
                <a:gd name="connsiteX93" fmla="*/ 1002631 w 3217388"/>
                <a:gd name="connsiteY93" fmla="*/ 716493 h 1177883"/>
                <a:gd name="connsiteX94" fmla="*/ 945593 w 3217388"/>
                <a:gd name="connsiteY94" fmla="*/ 359496 h 1177883"/>
                <a:gd name="connsiteX95" fmla="*/ 637212 w 3217388"/>
                <a:gd name="connsiteY95" fmla="*/ 204333 h 1177883"/>
                <a:gd name="connsiteX96" fmla="*/ 590156 w 3217388"/>
                <a:gd name="connsiteY96" fmla="*/ 207191 h 1177883"/>
                <a:gd name="connsiteX97" fmla="*/ 284151 w 3217388"/>
                <a:gd name="connsiteY97" fmla="*/ 438077 h 1177883"/>
                <a:gd name="connsiteX98" fmla="*/ 376456 w 3217388"/>
                <a:gd name="connsiteY98" fmla="*/ 851748 h 1177883"/>
                <a:gd name="connsiteX99" fmla="*/ 744632 w 3217388"/>
                <a:gd name="connsiteY99" fmla="*/ 937568 h 1177883"/>
                <a:gd name="connsiteX100" fmla="*/ 1002536 w 3217388"/>
                <a:gd name="connsiteY100" fmla="*/ 716493 h 1177883"/>
                <a:gd name="connsiteX101" fmla="*/ 1002536 w 3217388"/>
                <a:gd name="connsiteY101" fmla="*/ 716493 h 1177883"/>
                <a:gd name="connsiteX102" fmla="*/ 43834 w 3217388"/>
                <a:gd name="connsiteY102" fmla="*/ 569617 h 1177883"/>
                <a:gd name="connsiteX103" fmla="*/ 240328 w 3217388"/>
                <a:gd name="connsiteY103" fmla="*/ 192998 h 1177883"/>
                <a:gd name="connsiteX104" fmla="*/ 636451 w 3217388"/>
                <a:gd name="connsiteY104" fmla="*/ 44408 h 1177883"/>
                <a:gd name="connsiteX105" fmla="*/ 1012897 w 3217388"/>
                <a:gd name="connsiteY105" fmla="*/ 220240 h 1177883"/>
                <a:gd name="connsiteX106" fmla="*/ 1019742 w 3217388"/>
                <a:gd name="connsiteY106" fmla="*/ 223955 h 1177883"/>
                <a:gd name="connsiteX107" fmla="*/ 1027537 w 3217388"/>
                <a:gd name="connsiteY107" fmla="*/ 221288 h 1177883"/>
                <a:gd name="connsiteX108" fmla="*/ 1030674 w 3217388"/>
                <a:gd name="connsiteY108" fmla="*/ 213668 h 1177883"/>
                <a:gd name="connsiteX109" fmla="*/ 1027822 w 3217388"/>
                <a:gd name="connsiteY109" fmla="*/ 206905 h 1177883"/>
                <a:gd name="connsiteX110" fmla="*/ 565345 w 3217388"/>
                <a:gd name="connsiteY110" fmla="*/ 212 h 1177883"/>
                <a:gd name="connsiteX111" fmla="*/ 119504 w 3217388"/>
                <a:gd name="connsiteY111" fmla="*/ 229765 h 1177883"/>
                <a:gd name="connsiteX112" fmla="*/ 148402 w 3217388"/>
                <a:gd name="connsiteY112" fmla="*/ 978049 h 1177883"/>
                <a:gd name="connsiteX113" fmla="*/ 152775 w 3217388"/>
                <a:gd name="connsiteY113" fmla="*/ 982907 h 1177883"/>
                <a:gd name="connsiteX114" fmla="*/ 155057 w 3217388"/>
                <a:gd name="connsiteY114" fmla="*/ 985383 h 1177883"/>
                <a:gd name="connsiteX115" fmla="*/ 156198 w 3217388"/>
                <a:gd name="connsiteY115" fmla="*/ 986050 h 1177883"/>
                <a:gd name="connsiteX116" fmla="*/ 162852 w 3217388"/>
                <a:gd name="connsiteY116" fmla="*/ 987860 h 1177883"/>
                <a:gd name="connsiteX117" fmla="*/ 166464 w 3217388"/>
                <a:gd name="connsiteY117" fmla="*/ 987384 h 1177883"/>
                <a:gd name="connsiteX118" fmla="*/ 173974 w 3217388"/>
                <a:gd name="connsiteY118" fmla="*/ 981383 h 1177883"/>
                <a:gd name="connsiteX119" fmla="*/ 172168 w 3217388"/>
                <a:gd name="connsiteY119" fmla="*/ 967191 h 1177883"/>
                <a:gd name="connsiteX120" fmla="*/ 43929 w 3217388"/>
                <a:gd name="connsiteY120" fmla="*/ 569712 h 1177883"/>
                <a:gd name="connsiteX121" fmla="*/ 1172032 w 3217388"/>
                <a:gd name="connsiteY121" fmla="*/ 561997 h 1177883"/>
                <a:gd name="connsiteX122" fmla="*/ 1171651 w 3217388"/>
                <a:gd name="connsiteY122" fmla="*/ 559902 h 1177883"/>
                <a:gd name="connsiteX123" fmla="*/ 1159578 w 3217388"/>
                <a:gd name="connsiteY123" fmla="*/ 550853 h 1177883"/>
                <a:gd name="connsiteX124" fmla="*/ 1150738 w 3217388"/>
                <a:gd name="connsiteY124" fmla="*/ 555520 h 1177883"/>
                <a:gd name="connsiteX125" fmla="*/ 1148076 w 3217388"/>
                <a:gd name="connsiteY125" fmla="*/ 565521 h 1177883"/>
                <a:gd name="connsiteX126" fmla="*/ 1074403 w 3217388"/>
                <a:gd name="connsiteY126" fmla="*/ 861939 h 1177883"/>
                <a:gd name="connsiteX127" fmla="*/ 621241 w 3217388"/>
                <a:gd name="connsiteY127" fmla="*/ 1150642 h 1177883"/>
                <a:gd name="connsiteX128" fmla="*/ 609169 w 3217388"/>
                <a:gd name="connsiteY128" fmla="*/ 1165692 h 1177883"/>
                <a:gd name="connsiteX129" fmla="*/ 620481 w 3217388"/>
                <a:gd name="connsiteY129" fmla="*/ 1177693 h 1177883"/>
                <a:gd name="connsiteX130" fmla="*/ 621432 w 3217388"/>
                <a:gd name="connsiteY130" fmla="*/ 1177884 h 1177883"/>
                <a:gd name="connsiteX131" fmla="*/ 622382 w 3217388"/>
                <a:gd name="connsiteY131" fmla="*/ 1177884 h 1177883"/>
                <a:gd name="connsiteX132" fmla="*/ 664685 w 3217388"/>
                <a:gd name="connsiteY132" fmla="*/ 1174264 h 1177883"/>
                <a:gd name="connsiteX133" fmla="*/ 1045599 w 3217388"/>
                <a:gd name="connsiteY133" fmla="*/ 963285 h 1177883"/>
                <a:gd name="connsiteX134" fmla="*/ 1172032 w 3217388"/>
                <a:gd name="connsiteY134" fmla="*/ 561997 h 1177883"/>
                <a:gd name="connsiteX135" fmla="*/ 1170130 w 3217388"/>
                <a:gd name="connsiteY135" fmla="*/ 489226 h 1177883"/>
                <a:gd name="connsiteX136" fmla="*/ 1142657 w 3217388"/>
                <a:gd name="connsiteY136" fmla="*/ 363591 h 1177883"/>
                <a:gd name="connsiteX137" fmla="*/ 1115565 w 3217388"/>
                <a:gd name="connsiteY137" fmla="*/ 352923 h 1177883"/>
                <a:gd name="connsiteX138" fmla="*/ 1114804 w 3217388"/>
                <a:gd name="connsiteY138" fmla="*/ 389975 h 1177883"/>
                <a:gd name="connsiteX139" fmla="*/ 1145414 w 3217388"/>
                <a:gd name="connsiteY139" fmla="*/ 486559 h 1177883"/>
                <a:gd name="connsiteX140" fmla="*/ 1158913 w 3217388"/>
                <a:gd name="connsiteY140" fmla="*/ 501418 h 1177883"/>
                <a:gd name="connsiteX141" fmla="*/ 1170130 w 3217388"/>
                <a:gd name="connsiteY141" fmla="*/ 489321 h 117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</a:cxnLst>
              <a:rect l="l" t="t" r="r" b="b"/>
              <a:pathLst>
                <a:path w="3217388" h="1177883">
                  <a:moveTo>
                    <a:pt x="1527089" y="295107"/>
                  </a:moveTo>
                  <a:lnTo>
                    <a:pt x="1705520" y="295107"/>
                  </a:lnTo>
                  <a:lnTo>
                    <a:pt x="1705520" y="947283"/>
                  </a:lnTo>
                  <a:lnTo>
                    <a:pt x="1527089" y="947283"/>
                  </a:lnTo>
                  <a:lnTo>
                    <a:pt x="1527089" y="295107"/>
                  </a:lnTo>
                  <a:close/>
                  <a:moveTo>
                    <a:pt x="2318481" y="4403"/>
                  </a:moveTo>
                  <a:lnTo>
                    <a:pt x="2318481" y="386070"/>
                  </a:lnTo>
                  <a:cubicBezTo>
                    <a:pt x="2295095" y="345779"/>
                    <a:pt x="2216669" y="274533"/>
                    <a:pt x="2100884" y="274533"/>
                  </a:cubicBezTo>
                  <a:cubicBezTo>
                    <a:pt x="2046888" y="274533"/>
                    <a:pt x="1991182" y="289296"/>
                    <a:pt x="1939848" y="318919"/>
                  </a:cubicBezTo>
                  <a:cubicBezTo>
                    <a:pt x="1888515" y="348542"/>
                    <a:pt x="1848494" y="389499"/>
                    <a:pt x="1819785" y="441792"/>
                  </a:cubicBezTo>
                  <a:cubicBezTo>
                    <a:pt x="1791076" y="494084"/>
                    <a:pt x="1776817" y="553710"/>
                    <a:pt x="1776817" y="620576"/>
                  </a:cubicBezTo>
                  <a:cubicBezTo>
                    <a:pt x="1776817" y="687441"/>
                    <a:pt x="1791171" y="747258"/>
                    <a:pt x="1819785" y="800027"/>
                  </a:cubicBezTo>
                  <a:cubicBezTo>
                    <a:pt x="1848399" y="852795"/>
                    <a:pt x="1888705" y="893753"/>
                    <a:pt x="1940419" y="922899"/>
                  </a:cubicBezTo>
                  <a:cubicBezTo>
                    <a:pt x="1992228" y="952046"/>
                    <a:pt x="2048409" y="966619"/>
                    <a:pt x="2111816" y="966619"/>
                  </a:cubicBezTo>
                  <a:cubicBezTo>
                    <a:pt x="2223704" y="966619"/>
                    <a:pt x="2302605" y="899182"/>
                    <a:pt x="2318481" y="864606"/>
                  </a:cubicBezTo>
                  <a:lnTo>
                    <a:pt x="2318481" y="947283"/>
                  </a:lnTo>
                  <a:cubicBezTo>
                    <a:pt x="2318481" y="947283"/>
                    <a:pt x="2496913" y="947283"/>
                    <a:pt x="2496913" y="947283"/>
                  </a:cubicBezTo>
                  <a:lnTo>
                    <a:pt x="2496913" y="4403"/>
                  </a:lnTo>
                  <a:lnTo>
                    <a:pt x="2318481" y="4403"/>
                  </a:lnTo>
                  <a:close/>
                  <a:moveTo>
                    <a:pt x="2146323" y="813648"/>
                  </a:moveTo>
                  <a:cubicBezTo>
                    <a:pt x="2030633" y="813648"/>
                    <a:pt x="1957815" y="728304"/>
                    <a:pt x="1957815" y="620576"/>
                  </a:cubicBezTo>
                  <a:cubicBezTo>
                    <a:pt x="1957815" y="512848"/>
                    <a:pt x="2030252" y="427504"/>
                    <a:pt x="2146323" y="427504"/>
                  </a:cubicBezTo>
                  <a:cubicBezTo>
                    <a:pt x="2262394" y="427504"/>
                    <a:pt x="2334832" y="512848"/>
                    <a:pt x="2334832" y="620576"/>
                  </a:cubicBezTo>
                  <a:cubicBezTo>
                    <a:pt x="2334832" y="728304"/>
                    <a:pt x="2260398" y="813648"/>
                    <a:pt x="2146323" y="813648"/>
                  </a:cubicBezTo>
                  <a:close/>
                  <a:moveTo>
                    <a:pt x="3186113" y="403787"/>
                  </a:moveTo>
                  <a:cubicBezTo>
                    <a:pt x="3165104" y="361305"/>
                    <a:pt x="3135635" y="329206"/>
                    <a:pt x="3097515" y="307298"/>
                  </a:cubicBezTo>
                  <a:cubicBezTo>
                    <a:pt x="3059395" y="285391"/>
                    <a:pt x="3013480" y="274533"/>
                    <a:pt x="2959485" y="274533"/>
                  </a:cubicBezTo>
                  <a:cubicBezTo>
                    <a:pt x="2848832" y="274533"/>
                    <a:pt x="2777441" y="350351"/>
                    <a:pt x="2759189" y="385975"/>
                  </a:cubicBezTo>
                  <a:lnTo>
                    <a:pt x="2759189" y="4403"/>
                  </a:lnTo>
                  <a:lnTo>
                    <a:pt x="2580567" y="4403"/>
                  </a:lnTo>
                  <a:lnTo>
                    <a:pt x="2580567" y="947283"/>
                  </a:lnTo>
                  <a:lnTo>
                    <a:pt x="2759094" y="947283"/>
                  </a:lnTo>
                  <a:lnTo>
                    <a:pt x="2759094" y="598097"/>
                  </a:lnTo>
                  <a:cubicBezTo>
                    <a:pt x="2759094" y="495227"/>
                    <a:pt x="2816987" y="429219"/>
                    <a:pt x="2902162" y="429219"/>
                  </a:cubicBezTo>
                  <a:cubicBezTo>
                    <a:pt x="2947792" y="429219"/>
                    <a:pt x="3038957" y="462175"/>
                    <a:pt x="3038957" y="598097"/>
                  </a:cubicBezTo>
                  <a:lnTo>
                    <a:pt x="3038957" y="947283"/>
                  </a:lnTo>
                  <a:lnTo>
                    <a:pt x="3217388" y="947283"/>
                  </a:lnTo>
                  <a:lnTo>
                    <a:pt x="3217388" y="560092"/>
                  </a:lnTo>
                  <a:cubicBezTo>
                    <a:pt x="3217388" y="498370"/>
                    <a:pt x="3206932" y="446268"/>
                    <a:pt x="3185923" y="403787"/>
                  </a:cubicBezTo>
                  <a:close/>
                  <a:moveTo>
                    <a:pt x="1731282" y="100701"/>
                  </a:moveTo>
                  <a:cubicBezTo>
                    <a:pt x="1740503" y="166900"/>
                    <a:pt x="1673104" y="211667"/>
                    <a:pt x="1615972" y="216906"/>
                  </a:cubicBezTo>
                  <a:cubicBezTo>
                    <a:pt x="1570342" y="223193"/>
                    <a:pt x="1522621" y="204333"/>
                    <a:pt x="1507221" y="156803"/>
                  </a:cubicBezTo>
                  <a:cubicBezTo>
                    <a:pt x="1489539" y="102987"/>
                    <a:pt x="1506555" y="32978"/>
                    <a:pt x="1560836" y="8499"/>
                  </a:cubicBezTo>
                  <a:cubicBezTo>
                    <a:pt x="1627474" y="-20266"/>
                    <a:pt x="1718163" y="27359"/>
                    <a:pt x="1731187" y="100606"/>
                  </a:cubicBezTo>
                  <a:lnTo>
                    <a:pt x="1731187" y="100606"/>
                  </a:lnTo>
                  <a:close/>
                  <a:moveTo>
                    <a:pt x="243274" y="1020912"/>
                  </a:moveTo>
                  <a:cubicBezTo>
                    <a:pt x="251735" y="1025864"/>
                    <a:pt x="257819" y="1034437"/>
                    <a:pt x="250974" y="1046439"/>
                  </a:cubicBezTo>
                  <a:cubicBezTo>
                    <a:pt x="244130" y="1058440"/>
                    <a:pt x="225213" y="1053297"/>
                    <a:pt x="217798" y="1047010"/>
                  </a:cubicBezTo>
                  <a:cubicBezTo>
                    <a:pt x="206961" y="1037771"/>
                    <a:pt x="194793" y="1016816"/>
                    <a:pt x="198975" y="1012625"/>
                  </a:cubicBezTo>
                  <a:cubicBezTo>
                    <a:pt x="203158" y="1008434"/>
                    <a:pt x="234814" y="1015959"/>
                    <a:pt x="243274" y="1020912"/>
                  </a:cubicBezTo>
                  <a:close/>
                  <a:moveTo>
                    <a:pt x="848820" y="564283"/>
                  </a:moveTo>
                  <a:cubicBezTo>
                    <a:pt x="853383" y="594382"/>
                    <a:pt x="845588" y="624100"/>
                    <a:pt x="826290" y="650103"/>
                  </a:cubicBezTo>
                  <a:cubicBezTo>
                    <a:pt x="800814" y="684489"/>
                    <a:pt x="757085" y="709825"/>
                    <a:pt x="712121" y="716302"/>
                  </a:cubicBezTo>
                  <a:cubicBezTo>
                    <a:pt x="702900" y="718302"/>
                    <a:pt x="693299" y="719255"/>
                    <a:pt x="683507" y="719255"/>
                  </a:cubicBezTo>
                  <a:cubicBezTo>
                    <a:pt x="635406" y="719255"/>
                    <a:pt x="583692" y="695157"/>
                    <a:pt x="564489" y="646103"/>
                  </a:cubicBezTo>
                  <a:cubicBezTo>
                    <a:pt x="536161" y="577332"/>
                    <a:pt x="556219" y="480558"/>
                    <a:pt x="631223" y="446173"/>
                  </a:cubicBezTo>
                  <a:cubicBezTo>
                    <a:pt x="672955" y="428361"/>
                    <a:pt x="721912" y="431504"/>
                    <a:pt x="765451" y="454841"/>
                  </a:cubicBezTo>
                  <a:cubicBezTo>
                    <a:pt x="809750" y="478558"/>
                    <a:pt x="840170" y="518372"/>
                    <a:pt x="848915" y="563997"/>
                  </a:cubicBezTo>
                  <a:lnTo>
                    <a:pt x="848915" y="564188"/>
                  </a:lnTo>
                  <a:close/>
                  <a:moveTo>
                    <a:pt x="808039" y="570760"/>
                  </a:moveTo>
                  <a:cubicBezTo>
                    <a:pt x="801004" y="531041"/>
                    <a:pt x="764215" y="495703"/>
                    <a:pt x="718680" y="484749"/>
                  </a:cubicBezTo>
                  <a:cubicBezTo>
                    <a:pt x="709554" y="482559"/>
                    <a:pt x="700713" y="481511"/>
                    <a:pt x="692158" y="481511"/>
                  </a:cubicBezTo>
                  <a:cubicBezTo>
                    <a:pt x="664590" y="481511"/>
                    <a:pt x="640824" y="492846"/>
                    <a:pt x="624759" y="514182"/>
                  </a:cubicBezTo>
                  <a:cubicBezTo>
                    <a:pt x="603180" y="543423"/>
                    <a:pt x="598046" y="589620"/>
                    <a:pt x="612211" y="626291"/>
                  </a:cubicBezTo>
                  <a:cubicBezTo>
                    <a:pt x="622477" y="652961"/>
                    <a:pt x="650996" y="670487"/>
                    <a:pt x="684933" y="671058"/>
                  </a:cubicBezTo>
                  <a:cubicBezTo>
                    <a:pt x="723243" y="672201"/>
                    <a:pt x="764785" y="655628"/>
                    <a:pt x="788076" y="630006"/>
                  </a:cubicBezTo>
                  <a:cubicBezTo>
                    <a:pt x="803666" y="612956"/>
                    <a:pt x="810510" y="592382"/>
                    <a:pt x="807943" y="570665"/>
                  </a:cubicBezTo>
                  <a:close/>
                  <a:moveTo>
                    <a:pt x="893024" y="502656"/>
                  </a:moveTo>
                  <a:cubicBezTo>
                    <a:pt x="924014" y="587715"/>
                    <a:pt x="919166" y="707444"/>
                    <a:pt x="838173" y="782977"/>
                  </a:cubicBezTo>
                  <a:cubicBezTo>
                    <a:pt x="794730" y="824411"/>
                    <a:pt x="737883" y="846414"/>
                    <a:pt x="677043" y="846414"/>
                  </a:cubicBezTo>
                  <a:cubicBezTo>
                    <a:pt x="658981" y="846414"/>
                    <a:pt x="640634" y="844509"/>
                    <a:pt x="622097" y="840508"/>
                  </a:cubicBezTo>
                  <a:cubicBezTo>
                    <a:pt x="530742" y="821172"/>
                    <a:pt x="452791" y="757736"/>
                    <a:pt x="418569" y="675059"/>
                  </a:cubicBezTo>
                  <a:cubicBezTo>
                    <a:pt x="391096" y="613241"/>
                    <a:pt x="391476" y="540375"/>
                    <a:pt x="419710" y="475224"/>
                  </a:cubicBezTo>
                  <a:cubicBezTo>
                    <a:pt x="448609" y="408454"/>
                    <a:pt x="503079" y="357019"/>
                    <a:pt x="569147" y="334254"/>
                  </a:cubicBezTo>
                  <a:cubicBezTo>
                    <a:pt x="631413" y="311966"/>
                    <a:pt x="695200" y="315014"/>
                    <a:pt x="753663" y="342922"/>
                  </a:cubicBezTo>
                  <a:cubicBezTo>
                    <a:pt x="817165" y="373307"/>
                    <a:pt x="867928" y="431409"/>
                    <a:pt x="893024" y="502561"/>
                  </a:cubicBezTo>
                  <a:close/>
                  <a:moveTo>
                    <a:pt x="880381" y="507323"/>
                  </a:moveTo>
                  <a:lnTo>
                    <a:pt x="880381" y="507323"/>
                  </a:lnTo>
                  <a:cubicBezTo>
                    <a:pt x="851957" y="425885"/>
                    <a:pt x="765356" y="369497"/>
                    <a:pt x="670198" y="370449"/>
                  </a:cubicBezTo>
                  <a:cubicBezTo>
                    <a:pt x="669818" y="370449"/>
                    <a:pt x="669533" y="370449"/>
                    <a:pt x="669153" y="370449"/>
                  </a:cubicBezTo>
                  <a:cubicBezTo>
                    <a:pt x="595765" y="370449"/>
                    <a:pt x="528936" y="403311"/>
                    <a:pt x="485588" y="460746"/>
                  </a:cubicBezTo>
                  <a:cubicBezTo>
                    <a:pt x="441859" y="518658"/>
                    <a:pt x="428360" y="592858"/>
                    <a:pt x="448704" y="664391"/>
                  </a:cubicBezTo>
                  <a:cubicBezTo>
                    <a:pt x="465720" y="722493"/>
                    <a:pt x="504220" y="768309"/>
                    <a:pt x="557170" y="793264"/>
                  </a:cubicBezTo>
                  <a:cubicBezTo>
                    <a:pt x="611735" y="818982"/>
                    <a:pt x="676378" y="819267"/>
                    <a:pt x="734270" y="794121"/>
                  </a:cubicBezTo>
                  <a:cubicBezTo>
                    <a:pt x="839029" y="752307"/>
                    <a:pt x="924680" y="624291"/>
                    <a:pt x="880381" y="507419"/>
                  </a:cubicBezTo>
                  <a:close/>
                  <a:moveTo>
                    <a:pt x="634645" y="996051"/>
                  </a:moveTo>
                  <a:cubicBezTo>
                    <a:pt x="585118" y="996051"/>
                    <a:pt x="535686" y="986241"/>
                    <a:pt x="488535" y="966524"/>
                  </a:cubicBezTo>
                  <a:cubicBezTo>
                    <a:pt x="287383" y="883371"/>
                    <a:pt x="180438" y="636197"/>
                    <a:pt x="255062" y="426742"/>
                  </a:cubicBezTo>
                  <a:cubicBezTo>
                    <a:pt x="305065" y="281391"/>
                    <a:pt x="426744" y="180616"/>
                    <a:pt x="580460" y="157280"/>
                  </a:cubicBezTo>
                  <a:cubicBezTo>
                    <a:pt x="733605" y="134039"/>
                    <a:pt x="878955" y="193856"/>
                    <a:pt x="969359" y="317490"/>
                  </a:cubicBezTo>
                  <a:cubicBezTo>
                    <a:pt x="1049972" y="427790"/>
                    <a:pt x="1067748" y="586286"/>
                    <a:pt x="1014704" y="721255"/>
                  </a:cubicBezTo>
                  <a:cubicBezTo>
                    <a:pt x="972876" y="831078"/>
                    <a:pt x="889127" y="919851"/>
                    <a:pt x="785129" y="964714"/>
                  </a:cubicBezTo>
                  <a:cubicBezTo>
                    <a:pt x="736647" y="985574"/>
                    <a:pt x="685599" y="996051"/>
                    <a:pt x="634645" y="996051"/>
                  </a:cubicBezTo>
                  <a:close/>
                  <a:moveTo>
                    <a:pt x="1002631" y="716493"/>
                  </a:moveTo>
                  <a:cubicBezTo>
                    <a:pt x="1047975" y="601907"/>
                    <a:pt x="1025541" y="461794"/>
                    <a:pt x="945593" y="359496"/>
                  </a:cubicBezTo>
                  <a:cubicBezTo>
                    <a:pt x="870019" y="260340"/>
                    <a:pt x="757180" y="204333"/>
                    <a:pt x="637212" y="204333"/>
                  </a:cubicBezTo>
                  <a:cubicBezTo>
                    <a:pt x="621622" y="204333"/>
                    <a:pt x="605937" y="205286"/>
                    <a:pt x="590156" y="207191"/>
                  </a:cubicBezTo>
                  <a:cubicBezTo>
                    <a:pt x="454407" y="223669"/>
                    <a:pt x="339953" y="309966"/>
                    <a:pt x="284151" y="438077"/>
                  </a:cubicBezTo>
                  <a:cubicBezTo>
                    <a:pt x="221410" y="578952"/>
                    <a:pt x="260196" y="752878"/>
                    <a:pt x="376456" y="851748"/>
                  </a:cubicBezTo>
                  <a:cubicBezTo>
                    <a:pt x="472089" y="937187"/>
                    <a:pt x="613066" y="970048"/>
                    <a:pt x="744632" y="937568"/>
                  </a:cubicBezTo>
                  <a:cubicBezTo>
                    <a:pt x="866882" y="907469"/>
                    <a:pt x="960898" y="826887"/>
                    <a:pt x="1002536" y="716493"/>
                  </a:cubicBezTo>
                  <a:lnTo>
                    <a:pt x="1002536" y="716493"/>
                  </a:lnTo>
                  <a:close/>
                  <a:moveTo>
                    <a:pt x="43834" y="569617"/>
                  </a:moveTo>
                  <a:cubicBezTo>
                    <a:pt x="57713" y="426551"/>
                    <a:pt x="127584" y="292725"/>
                    <a:pt x="240328" y="192998"/>
                  </a:cubicBezTo>
                  <a:cubicBezTo>
                    <a:pt x="352881" y="93462"/>
                    <a:pt x="493478" y="40598"/>
                    <a:pt x="636451" y="44408"/>
                  </a:cubicBezTo>
                  <a:cubicBezTo>
                    <a:pt x="781516" y="48218"/>
                    <a:pt x="915174" y="110607"/>
                    <a:pt x="1012897" y="220240"/>
                  </a:cubicBezTo>
                  <a:cubicBezTo>
                    <a:pt x="1014609" y="222335"/>
                    <a:pt x="1017080" y="223669"/>
                    <a:pt x="1019742" y="223955"/>
                  </a:cubicBezTo>
                  <a:cubicBezTo>
                    <a:pt x="1022594" y="224241"/>
                    <a:pt x="1025541" y="223288"/>
                    <a:pt x="1027537" y="221288"/>
                  </a:cubicBezTo>
                  <a:cubicBezTo>
                    <a:pt x="1029628" y="219383"/>
                    <a:pt x="1030769" y="216525"/>
                    <a:pt x="1030674" y="213668"/>
                  </a:cubicBezTo>
                  <a:cubicBezTo>
                    <a:pt x="1030674" y="211096"/>
                    <a:pt x="1029533" y="208715"/>
                    <a:pt x="1027822" y="206905"/>
                  </a:cubicBezTo>
                  <a:cubicBezTo>
                    <a:pt x="912512" y="70888"/>
                    <a:pt x="743967" y="-4264"/>
                    <a:pt x="565345" y="212"/>
                  </a:cubicBezTo>
                  <a:cubicBezTo>
                    <a:pt x="389765" y="4784"/>
                    <a:pt x="227304" y="88414"/>
                    <a:pt x="119504" y="229765"/>
                  </a:cubicBezTo>
                  <a:cubicBezTo>
                    <a:pt x="-50277" y="450459"/>
                    <a:pt x="-37824" y="772214"/>
                    <a:pt x="148402" y="978049"/>
                  </a:cubicBezTo>
                  <a:cubicBezTo>
                    <a:pt x="149828" y="979668"/>
                    <a:pt x="151349" y="981287"/>
                    <a:pt x="152775" y="982907"/>
                  </a:cubicBezTo>
                  <a:lnTo>
                    <a:pt x="155057" y="985383"/>
                  </a:lnTo>
                  <a:lnTo>
                    <a:pt x="156198" y="986050"/>
                  </a:lnTo>
                  <a:cubicBezTo>
                    <a:pt x="158194" y="987193"/>
                    <a:pt x="160570" y="987860"/>
                    <a:pt x="162852" y="987860"/>
                  </a:cubicBezTo>
                  <a:cubicBezTo>
                    <a:pt x="164088" y="987860"/>
                    <a:pt x="165228" y="987669"/>
                    <a:pt x="166464" y="987384"/>
                  </a:cubicBezTo>
                  <a:cubicBezTo>
                    <a:pt x="169696" y="986431"/>
                    <a:pt x="172453" y="984240"/>
                    <a:pt x="173974" y="981383"/>
                  </a:cubicBezTo>
                  <a:cubicBezTo>
                    <a:pt x="176351" y="976906"/>
                    <a:pt x="175685" y="971477"/>
                    <a:pt x="172168" y="967191"/>
                  </a:cubicBezTo>
                  <a:cubicBezTo>
                    <a:pt x="75300" y="856129"/>
                    <a:pt x="29765" y="714968"/>
                    <a:pt x="43929" y="569712"/>
                  </a:cubicBezTo>
                  <a:close/>
                  <a:moveTo>
                    <a:pt x="1172032" y="561997"/>
                  </a:moveTo>
                  <a:lnTo>
                    <a:pt x="1171651" y="559902"/>
                  </a:lnTo>
                  <a:cubicBezTo>
                    <a:pt x="1169940" y="554377"/>
                    <a:pt x="1164997" y="550567"/>
                    <a:pt x="1159578" y="550853"/>
                  </a:cubicBezTo>
                  <a:cubicBezTo>
                    <a:pt x="1156156" y="550948"/>
                    <a:pt x="1152924" y="552663"/>
                    <a:pt x="1150738" y="555520"/>
                  </a:cubicBezTo>
                  <a:cubicBezTo>
                    <a:pt x="1148551" y="558378"/>
                    <a:pt x="1147601" y="561902"/>
                    <a:pt x="1148076" y="565521"/>
                  </a:cubicBezTo>
                  <a:cubicBezTo>
                    <a:pt x="1151118" y="670677"/>
                    <a:pt x="1125641" y="773166"/>
                    <a:pt x="1074403" y="861939"/>
                  </a:cubicBezTo>
                  <a:cubicBezTo>
                    <a:pt x="980957" y="1028532"/>
                    <a:pt x="811746" y="1136450"/>
                    <a:pt x="621241" y="1150642"/>
                  </a:cubicBezTo>
                  <a:cubicBezTo>
                    <a:pt x="613827" y="1151595"/>
                    <a:pt x="608408" y="1158357"/>
                    <a:pt x="609169" y="1165692"/>
                  </a:cubicBezTo>
                  <a:cubicBezTo>
                    <a:pt x="609834" y="1171692"/>
                    <a:pt x="614397" y="1176550"/>
                    <a:pt x="620481" y="1177693"/>
                  </a:cubicBezTo>
                  <a:lnTo>
                    <a:pt x="621432" y="1177884"/>
                  </a:lnTo>
                  <a:lnTo>
                    <a:pt x="622382" y="1177884"/>
                  </a:lnTo>
                  <a:cubicBezTo>
                    <a:pt x="636642" y="1177217"/>
                    <a:pt x="650901" y="1175979"/>
                    <a:pt x="664685" y="1174264"/>
                  </a:cubicBezTo>
                  <a:cubicBezTo>
                    <a:pt x="816689" y="1155976"/>
                    <a:pt x="951963" y="1081014"/>
                    <a:pt x="1045599" y="963285"/>
                  </a:cubicBezTo>
                  <a:cubicBezTo>
                    <a:pt x="1135813" y="849843"/>
                    <a:pt x="1180682" y="707349"/>
                    <a:pt x="1172032" y="561997"/>
                  </a:cubicBezTo>
                  <a:close/>
                  <a:moveTo>
                    <a:pt x="1170130" y="489226"/>
                  </a:moveTo>
                  <a:cubicBezTo>
                    <a:pt x="1175073" y="468938"/>
                    <a:pt x="1167849" y="393595"/>
                    <a:pt x="1142657" y="363591"/>
                  </a:cubicBezTo>
                  <a:cubicBezTo>
                    <a:pt x="1134957" y="354352"/>
                    <a:pt x="1125831" y="346732"/>
                    <a:pt x="1115565" y="352923"/>
                  </a:cubicBezTo>
                  <a:cubicBezTo>
                    <a:pt x="1101876" y="361115"/>
                    <a:pt x="1104728" y="376069"/>
                    <a:pt x="1114804" y="389975"/>
                  </a:cubicBezTo>
                  <a:cubicBezTo>
                    <a:pt x="1131725" y="413407"/>
                    <a:pt x="1144559" y="466271"/>
                    <a:pt x="1145414" y="486559"/>
                  </a:cubicBezTo>
                  <a:cubicBezTo>
                    <a:pt x="1145794" y="495322"/>
                    <a:pt x="1151783" y="501227"/>
                    <a:pt x="1158913" y="501418"/>
                  </a:cubicBezTo>
                  <a:cubicBezTo>
                    <a:pt x="1166043" y="501513"/>
                    <a:pt x="1168039" y="497894"/>
                    <a:pt x="1170130" y="489321"/>
                  </a:cubicBezTo>
                  <a:close/>
                </a:path>
              </a:pathLst>
            </a:custGeom>
            <a:grpFill/>
            <a:ln w="94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968"/>
            </a:p>
          </p:txBody>
        </p:sp>
        <p:grpSp>
          <p:nvGrpSpPr>
            <p:cNvPr id="9" name="Graphic 77">
              <a:extLst>
                <a:ext uri="{FF2B5EF4-FFF2-40B4-BE49-F238E27FC236}">
                  <a16:creationId xmlns:a16="http://schemas.microsoft.com/office/drawing/2014/main" id="{7A9F2233-0580-4D9D-E555-79AF92641D6A}"/>
                </a:ext>
              </a:extLst>
            </p:cNvPr>
            <p:cNvGrpSpPr/>
            <p:nvPr/>
          </p:nvGrpSpPr>
          <p:grpSpPr>
            <a:xfrm>
              <a:off x="6016337" y="3871817"/>
              <a:ext cx="1690870" cy="144494"/>
              <a:chOff x="6016337" y="3871817"/>
              <a:chExt cx="1690870" cy="144494"/>
            </a:xfrm>
            <a:grpFill/>
          </p:grpSpPr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5C257215-CC9E-E6C0-722F-3B99CC7211D0}"/>
                  </a:ext>
                </a:extLst>
              </p:cNvPr>
              <p:cNvSpPr/>
              <p:nvPr/>
            </p:nvSpPr>
            <p:spPr>
              <a:xfrm>
                <a:off x="6016337" y="3888581"/>
                <a:ext cx="56086" cy="95535"/>
              </a:xfrm>
              <a:custGeom>
                <a:avLst/>
                <a:gdLst>
                  <a:gd name="connsiteX0" fmla="*/ 12168 w 56086"/>
                  <a:gd name="connsiteY0" fmla="*/ 67056 h 95535"/>
                  <a:gd name="connsiteX1" fmla="*/ 12168 w 56086"/>
                  <a:gd name="connsiteY1" fmla="*/ 31623 h 95535"/>
                  <a:gd name="connsiteX2" fmla="*/ 0 w 56086"/>
                  <a:gd name="connsiteY2" fmla="*/ 31623 h 95535"/>
                  <a:gd name="connsiteX3" fmla="*/ 0 w 56086"/>
                  <a:gd name="connsiteY3" fmla="*/ 17431 h 95535"/>
                  <a:gd name="connsiteX4" fmla="*/ 9791 w 56086"/>
                  <a:gd name="connsiteY4" fmla="*/ 17431 h 95535"/>
                  <a:gd name="connsiteX5" fmla="*/ 14354 w 56086"/>
                  <a:gd name="connsiteY5" fmla="*/ 11525 h 95535"/>
                  <a:gd name="connsiteX6" fmla="*/ 15115 w 56086"/>
                  <a:gd name="connsiteY6" fmla="*/ 0 h 95535"/>
                  <a:gd name="connsiteX7" fmla="*/ 29564 w 56086"/>
                  <a:gd name="connsiteY7" fmla="*/ 0 h 95535"/>
                  <a:gd name="connsiteX8" fmla="*/ 29564 w 56086"/>
                  <a:gd name="connsiteY8" fmla="*/ 17526 h 95535"/>
                  <a:gd name="connsiteX9" fmla="*/ 56087 w 56086"/>
                  <a:gd name="connsiteY9" fmla="*/ 17526 h 95535"/>
                  <a:gd name="connsiteX10" fmla="*/ 56087 w 56086"/>
                  <a:gd name="connsiteY10" fmla="*/ 31718 h 95535"/>
                  <a:gd name="connsiteX11" fmla="*/ 29564 w 56086"/>
                  <a:gd name="connsiteY11" fmla="*/ 31718 h 95535"/>
                  <a:gd name="connsiteX12" fmla="*/ 29564 w 56086"/>
                  <a:gd name="connsiteY12" fmla="*/ 66199 h 95535"/>
                  <a:gd name="connsiteX13" fmla="*/ 43919 w 56086"/>
                  <a:gd name="connsiteY13" fmla="*/ 81153 h 95535"/>
                  <a:gd name="connsiteX14" fmla="*/ 55421 w 56086"/>
                  <a:gd name="connsiteY14" fmla="*/ 79724 h 95535"/>
                  <a:gd name="connsiteX15" fmla="*/ 55421 w 56086"/>
                  <a:gd name="connsiteY15" fmla="*/ 93631 h 95535"/>
                  <a:gd name="connsiteX16" fmla="*/ 41447 w 56086"/>
                  <a:gd name="connsiteY16" fmla="*/ 95536 h 95535"/>
                  <a:gd name="connsiteX17" fmla="*/ 12168 w 56086"/>
                  <a:gd name="connsiteY17" fmla="*/ 67151 h 95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6086" h="95535">
                    <a:moveTo>
                      <a:pt x="12168" y="67056"/>
                    </a:moveTo>
                    <a:lnTo>
                      <a:pt x="12168" y="31623"/>
                    </a:lnTo>
                    <a:lnTo>
                      <a:pt x="0" y="31623"/>
                    </a:lnTo>
                    <a:lnTo>
                      <a:pt x="0" y="17431"/>
                    </a:lnTo>
                    <a:lnTo>
                      <a:pt x="9791" y="17431"/>
                    </a:lnTo>
                    <a:cubicBezTo>
                      <a:pt x="12738" y="17431"/>
                      <a:pt x="13879" y="15907"/>
                      <a:pt x="14354" y="11525"/>
                    </a:cubicBezTo>
                    <a:lnTo>
                      <a:pt x="15115" y="0"/>
                    </a:lnTo>
                    <a:lnTo>
                      <a:pt x="29564" y="0"/>
                    </a:lnTo>
                    <a:lnTo>
                      <a:pt x="29564" y="17526"/>
                    </a:lnTo>
                    <a:lnTo>
                      <a:pt x="56087" y="17526"/>
                    </a:lnTo>
                    <a:lnTo>
                      <a:pt x="56087" y="31718"/>
                    </a:lnTo>
                    <a:lnTo>
                      <a:pt x="29564" y="31718"/>
                    </a:lnTo>
                    <a:lnTo>
                      <a:pt x="29564" y="66199"/>
                    </a:lnTo>
                    <a:cubicBezTo>
                      <a:pt x="29564" y="76200"/>
                      <a:pt x="33272" y="81153"/>
                      <a:pt x="43919" y="81153"/>
                    </a:cubicBezTo>
                    <a:cubicBezTo>
                      <a:pt x="48292" y="81153"/>
                      <a:pt x="53235" y="80391"/>
                      <a:pt x="55421" y="79724"/>
                    </a:cubicBezTo>
                    <a:lnTo>
                      <a:pt x="55421" y="93631"/>
                    </a:lnTo>
                    <a:cubicBezTo>
                      <a:pt x="53045" y="94393"/>
                      <a:pt x="47816" y="95536"/>
                      <a:pt x="41447" y="95536"/>
                    </a:cubicBezTo>
                    <a:cubicBezTo>
                      <a:pt x="20438" y="95536"/>
                      <a:pt x="12168" y="84106"/>
                      <a:pt x="12168" y="67151"/>
                    </a:cubicBez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BC932338-903D-554F-54B0-D77194E87927}"/>
                  </a:ext>
                </a:extLst>
              </p:cNvPr>
              <p:cNvSpPr/>
              <p:nvPr/>
            </p:nvSpPr>
            <p:spPr>
              <a:xfrm>
                <a:off x="6086303" y="3904773"/>
                <a:ext cx="70250" cy="78295"/>
              </a:xfrm>
              <a:custGeom>
                <a:avLst/>
                <a:gdLst>
                  <a:gd name="connsiteX0" fmla="*/ 0 w 70250"/>
                  <a:gd name="connsiteY0" fmla="*/ 1238 h 78295"/>
                  <a:gd name="connsiteX1" fmla="*/ 17492 w 70250"/>
                  <a:gd name="connsiteY1" fmla="*/ 1238 h 78295"/>
                  <a:gd name="connsiteX2" fmla="*/ 16826 w 70250"/>
                  <a:gd name="connsiteY2" fmla="*/ 23432 h 78295"/>
                  <a:gd name="connsiteX3" fmla="*/ 17016 w 70250"/>
                  <a:gd name="connsiteY3" fmla="*/ 23432 h 78295"/>
                  <a:gd name="connsiteX4" fmla="*/ 44394 w 70250"/>
                  <a:gd name="connsiteY4" fmla="*/ 0 h 78295"/>
                  <a:gd name="connsiteX5" fmla="*/ 70251 w 70250"/>
                  <a:gd name="connsiteY5" fmla="*/ 30099 h 78295"/>
                  <a:gd name="connsiteX6" fmla="*/ 69490 w 70250"/>
                  <a:gd name="connsiteY6" fmla="*/ 44482 h 78295"/>
                  <a:gd name="connsiteX7" fmla="*/ 53615 w 70250"/>
                  <a:gd name="connsiteY7" fmla="*/ 44482 h 78295"/>
                  <a:gd name="connsiteX8" fmla="*/ 54281 w 70250"/>
                  <a:gd name="connsiteY8" fmla="*/ 34004 h 78295"/>
                  <a:gd name="connsiteX9" fmla="*/ 38976 w 70250"/>
                  <a:gd name="connsiteY9" fmla="*/ 14954 h 78295"/>
                  <a:gd name="connsiteX10" fmla="*/ 17492 w 70250"/>
                  <a:gd name="connsiteY10" fmla="*/ 44577 h 78295"/>
                  <a:gd name="connsiteX11" fmla="*/ 17492 w 70250"/>
                  <a:gd name="connsiteY11" fmla="*/ 78296 h 78295"/>
                  <a:gd name="connsiteX12" fmla="*/ 0 w 70250"/>
                  <a:gd name="connsiteY12" fmla="*/ 78296 h 78295"/>
                  <a:gd name="connsiteX13" fmla="*/ 0 w 70250"/>
                  <a:gd name="connsiteY13" fmla="*/ 1238 h 78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0250" h="78295">
                    <a:moveTo>
                      <a:pt x="0" y="1238"/>
                    </a:moveTo>
                    <a:lnTo>
                      <a:pt x="17492" y="1238"/>
                    </a:lnTo>
                    <a:lnTo>
                      <a:pt x="16826" y="23432"/>
                    </a:lnTo>
                    <a:lnTo>
                      <a:pt x="17016" y="23432"/>
                    </a:lnTo>
                    <a:cubicBezTo>
                      <a:pt x="20628" y="9525"/>
                      <a:pt x="28519" y="0"/>
                      <a:pt x="44394" y="0"/>
                    </a:cubicBezTo>
                    <a:cubicBezTo>
                      <a:pt x="61030" y="0"/>
                      <a:pt x="70251" y="10954"/>
                      <a:pt x="70251" y="30099"/>
                    </a:cubicBezTo>
                    <a:cubicBezTo>
                      <a:pt x="70251" y="34957"/>
                      <a:pt x="69776" y="41148"/>
                      <a:pt x="69490" y="44482"/>
                    </a:cubicBezTo>
                    <a:lnTo>
                      <a:pt x="53615" y="44482"/>
                    </a:lnTo>
                    <a:cubicBezTo>
                      <a:pt x="53900" y="41529"/>
                      <a:pt x="54281" y="37624"/>
                      <a:pt x="54281" y="34004"/>
                    </a:cubicBezTo>
                    <a:cubicBezTo>
                      <a:pt x="54281" y="21050"/>
                      <a:pt x="49337" y="14954"/>
                      <a:pt x="38976" y="14954"/>
                    </a:cubicBezTo>
                    <a:cubicBezTo>
                      <a:pt x="25762" y="14954"/>
                      <a:pt x="17492" y="26194"/>
                      <a:pt x="17492" y="44577"/>
                    </a:cubicBezTo>
                    <a:lnTo>
                      <a:pt x="17492" y="78296"/>
                    </a:lnTo>
                    <a:lnTo>
                      <a:pt x="0" y="78296"/>
                    </a:lnTo>
                    <a:lnTo>
                      <a:pt x="0" y="1238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6E5B9C21-12EE-4D43-513B-B4B0B33CE9CF}"/>
                  </a:ext>
                </a:extLst>
              </p:cNvPr>
              <p:cNvSpPr/>
              <p:nvPr/>
            </p:nvSpPr>
            <p:spPr>
              <a:xfrm>
                <a:off x="6169197" y="3904773"/>
                <a:ext cx="74909" cy="79533"/>
              </a:xfrm>
              <a:custGeom>
                <a:avLst/>
                <a:gdLst>
                  <a:gd name="connsiteX0" fmla="*/ 95 w 74909"/>
                  <a:gd name="connsiteY0" fmla="*/ 56198 h 79533"/>
                  <a:gd name="connsiteX1" fmla="*/ 28899 w 74909"/>
                  <a:gd name="connsiteY1" fmla="*/ 35243 h 79533"/>
                  <a:gd name="connsiteX2" fmla="*/ 57418 w 74909"/>
                  <a:gd name="connsiteY2" fmla="*/ 35243 h 79533"/>
                  <a:gd name="connsiteX3" fmla="*/ 57418 w 74909"/>
                  <a:gd name="connsiteY3" fmla="*/ 29813 h 79533"/>
                  <a:gd name="connsiteX4" fmla="*/ 37169 w 74909"/>
                  <a:gd name="connsiteY4" fmla="*/ 13145 h 79533"/>
                  <a:gd name="connsiteX5" fmla="*/ 18632 w 74909"/>
                  <a:gd name="connsiteY5" fmla="*/ 26289 h 79533"/>
                  <a:gd name="connsiteX6" fmla="*/ 18822 w 74909"/>
                  <a:gd name="connsiteY6" fmla="*/ 29242 h 79533"/>
                  <a:gd name="connsiteX7" fmla="*/ 2757 w 74909"/>
                  <a:gd name="connsiteY7" fmla="*/ 29242 h 79533"/>
                  <a:gd name="connsiteX8" fmla="*/ 2472 w 74909"/>
                  <a:gd name="connsiteY8" fmla="*/ 24670 h 79533"/>
                  <a:gd name="connsiteX9" fmla="*/ 37835 w 74909"/>
                  <a:gd name="connsiteY9" fmla="*/ 0 h 79533"/>
                  <a:gd name="connsiteX10" fmla="*/ 74909 w 74909"/>
                  <a:gd name="connsiteY10" fmla="*/ 31337 h 79533"/>
                  <a:gd name="connsiteX11" fmla="*/ 74909 w 74909"/>
                  <a:gd name="connsiteY11" fmla="*/ 78296 h 79533"/>
                  <a:gd name="connsiteX12" fmla="*/ 57418 w 74909"/>
                  <a:gd name="connsiteY12" fmla="*/ 78296 h 79533"/>
                  <a:gd name="connsiteX13" fmla="*/ 58178 w 74909"/>
                  <a:gd name="connsiteY13" fmla="*/ 61246 h 79533"/>
                  <a:gd name="connsiteX14" fmla="*/ 57988 w 74909"/>
                  <a:gd name="connsiteY14" fmla="*/ 61246 h 79533"/>
                  <a:gd name="connsiteX15" fmla="*/ 29279 w 74909"/>
                  <a:gd name="connsiteY15" fmla="*/ 79534 h 79533"/>
                  <a:gd name="connsiteX16" fmla="*/ 0 w 74909"/>
                  <a:gd name="connsiteY16" fmla="*/ 56102 h 79533"/>
                  <a:gd name="connsiteX17" fmla="*/ 57418 w 74909"/>
                  <a:gd name="connsiteY17" fmla="*/ 47339 h 79533"/>
                  <a:gd name="connsiteX18" fmla="*/ 57418 w 74909"/>
                  <a:gd name="connsiteY18" fmla="*/ 45910 h 79533"/>
                  <a:gd name="connsiteX19" fmla="*/ 30515 w 74909"/>
                  <a:gd name="connsiteY19" fmla="*/ 45910 h 79533"/>
                  <a:gd name="connsiteX20" fmla="*/ 16161 w 74909"/>
                  <a:gd name="connsiteY20" fmla="*/ 55435 h 79533"/>
                  <a:gd name="connsiteX21" fmla="*/ 32987 w 74909"/>
                  <a:gd name="connsiteY21" fmla="*/ 66485 h 79533"/>
                  <a:gd name="connsiteX22" fmla="*/ 57418 w 74909"/>
                  <a:gd name="connsiteY22" fmla="*/ 47244 h 79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74909" h="79533">
                    <a:moveTo>
                      <a:pt x="95" y="56198"/>
                    </a:moveTo>
                    <a:cubicBezTo>
                      <a:pt x="95" y="44482"/>
                      <a:pt x="8366" y="35243"/>
                      <a:pt x="28899" y="35243"/>
                    </a:cubicBezTo>
                    <a:lnTo>
                      <a:pt x="57418" y="35243"/>
                    </a:lnTo>
                    <a:lnTo>
                      <a:pt x="57418" y="29813"/>
                    </a:lnTo>
                    <a:cubicBezTo>
                      <a:pt x="57418" y="18288"/>
                      <a:pt x="50763" y="13145"/>
                      <a:pt x="37169" y="13145"/>
                    </a:cubicBezTo>
                    <a:cubicBezTo>
                      <a:pt x="25287" y="13145"/>
                      <a:pt x="18632" y="17717"/>
                      <a:pt x="18632" y="26289"/>
                    </a:cubicBezTo>
                    <a:cubicBezTo>
                      <a:pt x="18632" y="26765"/>
                      <a:pt x="18632" y="28004"/>
                      <a:pt x="18822" y="29242"/>
                    </a:cubicBezTo>
                    <a:lnTo>
                      <a:pt x="2757" y="29242"/>
                    </a:lnTo>
                    <a:cubicBezTo>
                      <a:pt x="2567" y="28099"/>
                      <a:pt x="2472" y="26099"/>
                      <a:pt x="2472" y="24670"/>
                    </a:cubicBezTo>
                    <a:cubicBezTo>
                      <a:pt x="2472" y="9239"/>
                      <a:pt x="15875" y="0"/>
                      <a:pt x="37835" y="0"/>
                    </a:cubicBezTo>
                    <a:cubicBezTo>
                      <a:pt x="61220" y="0"/>
                      <a:pt x="74909" y="11049"/>
                      <a:pt x="74909" y="31337"/>
                    </a:cubicBezTo>
                    <a:lnTo>
                      <a:pt x="74909" y="78296"/>
                    </a:lnTo>
                    <a:lnTo>
                      <a:pt x="57418" y="78296"/>
                    </a:lnTo>
                    <a:cubicBezTo>
                      <a:pt x="57703" y="74581"/>
                      <a:pt x="58178" y="67532"/>
                      <a:pt x="58178" y="61246"/>
                    </a:cubicBezTo>
                    <a:lnTo>
                      <a:pt x="57988" y="61246"/>
                    </a:lnTo>
                    <a:cubicBezTo>
                      <a:pt x="55516" y="72676"/>
                      <a:pt x="46295" y="79534"/>
                      <a:pt x="29279" y="79534"/>
                    </a:cubicBezTo>
                    <a:cubicBezTo>
                      <a:pt x="12263" y="79534"/>
                      <a:pt x="0" y="71152"/>
                      <a:pt x="0" y="56102"/>
                    </a:cubicBezTo>
                    <a:close/>
                    <a:moveTo>
                      <a:pt x="57418" y="47339"/>
                    </a:moveTo>
                    <a:lnTo>
                      <a:pt x="57418" y="45910"/>
                    </a:lnTo>
                    <a:lnTo>
                      <a:pt x="30515" y="45910"/>
                    </a:lnTo>
                    <a:cubicBezTo>
                      <a:pt x="20533" y="45910"/>
                      <a:pt x="16161" y="49340"/>
                      <a:pt x="16161" y="55435"/>
                    </a:cubicBezTo>
                    <a:cubicBezTo>
                      <a:pt x="16161" y="62484"/>
                      <a:pt x="22435" y="66485"/>
                      <a:pt x="32987" y="66485"/>
                    </a:cubicBezTo>
                    <a:cubicBezTo>
                      <a:pt x="48101" y="66485"/>
                      <a:pt x="57418" y="59150"/>
                      <a:pt x="57418" y="47244"/>
                    </a:cubicBez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34" name="Freeform 33">
                <a:extLst>
                  <a:ext uri="{FF2B5EF4-FFF2-40B4-BE49-F238E27FC236}">
                    <a16:creationId xmlns:a16="http://schemas.microsoft.com/office/drawing/2014/main" id="{838FAE42-E3A6-9BD2-CBEC-824E5AD13011}"/>
                  </a:ext>
                </a:extLst>
              </p:cNvPr>
              <p:cNvSpPr/>
              <p:nvPr/>
            </p:nvSpPr>
            <p:spPr>
              <a:xfrm>
                <a:off x="6260742" y="3904773"/>
                <a:ext cx="80612" cy="78390"/>
              </a:xfrm>
              <a:custGeom>
                <a:avLst/>
                <a:gdLst>
                  <a:gd name="connsiteX0" fmla="*/ 0 w 80612"/>
                  <a:gd name="connsiteY0" fmla="*/ 1238 h 78390"/>
                  <a:gd name="connsiteX1" fmla="*/ 17491 w 80612"/>
                  <a:gd name="connsiteY1" fmla="*/ 1238 h 78390"/>
                  <a:gd name="connsiteX2" fmla="*/ 16826 w 80612"/>
                  <a:gd name="connsiteY2" fmla="*/ 21812 h 78390"/>
                  <a:gd name="connsiteX3" fmla="*/ 17016 w 80612"/>
                  <a:gd name="connsiteY3" fmla="*/ 21812 h 78390"/>
                  <a:gd name="connsiteX4" fmla="*/ 49147 w 80612"/>
                  <a:gd name="connsiteY4" fmla="*/ 0 h 78390"/>
                  <a:gd name="connsiteX5" fmla="*/ 80613 w 80612"/>
                  <a:gd name="connsiteY5" fmla="*/ 30099 h 78390"/>
                  <a:gd name="connsiteX6" fmla="*/ 80613 w 80612"/>
                  <a:gd name="connsiteY6" fmla="*/ 78296 h 78390"/>
                  <a:gd name="connsiteX7" fmla="*/ 63121 w 80612"/>
                  <a:gd name="connsiteY7" fmla="*/ 78296 h 78390"/>
                  <a:gd name="connsiteX8" fmla="*/ 63121 w 80612"/>
                  <a:gd name="connsiteY8" fmla="*/ 34004 h 78390"/>
                  <a:gd name="connsiteX9" fmla="*/ 42398 w 80612"/>
                  <a:gd name="connsiteY9" fmla="*/ 14954 h 78390"/>
                  <a:gd name="connsiteX10" fmla="*/ 17491 w 80612"/>
                  <a:gd name="connsiteY10" fmla="*/ 41053 h 78390"/>
                  <a:gd name="connsiteX11" fmla="*/ 17491 w 80612"/>
                  <a:gd name="connsiteY11" fmla="*/ 78391 h 78390"/>
                  <a:gd name="connsiteX12" fmla="*/ 0 w 80612"/>
                  <a:gd name="connsiteY12" fmla="*/ 78391 h 78390"/>
                  <a:gd name="connsiteX13" fmla="*/ 0 w 80612"/>
                  <a:gd name="connsiteY13" fmla="*/ 1333 h 78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80612" h="78390">
                    <a:moveTo>
                      <a:pt x="0" y="1238"/>
                    </a:moveTo>
                    <a:lnTo>
                      <a:pt x="17491" y="1238"/>
                    </a:lnTo>
                    <a:lnTo>
                      <a:pt x="16826" y="21812"/>
                    </a:lnTo>
                    <a:lnTo>
                      <a:pt x="17016" y="21812"/>
                    </a:lnTo>
                    <a:cubicBezTo>
                      <a:pt x="21199" y="7906"/>
                      <a:pt x="31180" y="0"/>
                      <a:pt x="49147" y="0"/>
                    </a:cubicBezTo>
                    <a:cubicBezTo>
                      <a:pt x="68635" y="0"/>
                      <a:pt x="80613" y="11049"/>
                      <a:pt x="80613" y="30099"/>
                    </a:cubicBezTo>
                    <a:lnTo>
                      <a:pt x="80613" y="78296"/>
                    </a:lnTo>
                    <a:lnTo>
                      <a:pt x="63121" y="78296"/>
                    </a:lnTo>
                    <a:lnTo>
                      <a:pt x="63121" y="34004"/>
                    </a:lnTo>
                    <a:cubicBezTo>
                      <a:pt x="63121" y="21812"/>
                      <a:pt x="56277" y="14954"/>
                      <a:pt x="42398" y="14954"/>
                    </a:cubicBezTo>
                    <a:cubicBezTo>
                      <a:pt x="27093" y="14954"/>
                      <a:pt x="17491" y="24194"/>
                      <a:pt x="17491" y="41053"/>
                    </a:cubicBezTo>
                    <a:lnTo>
                      <a:pt x="17491" y="78391"/>
                    </a:lnTo>
                    <a:lnTo>
                      <a:pt x="0" y="78391"/>
                    </a:lnTo>
                    <a:lnTo>
                      <a:pt x="0" y="1333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35" name="Freeform 34">
                <a:extLst>
                  <a:ext uri="{FF2B5EF4-FFF2-40B4-BE49-F238E27FC236}">
                    <a16:creationId xmlns:a16="http://schemas.microsoft.com/office/drawing/2014/main" id="{532EEC5B-B374-B120-51AC-9E2C8BD23978}"/>
                  </a:ext>
                </a:extLst>
              </p:cNvPr>
              <p:cNvSpPr/>
              <p:nvPr/>
            </p:nvSpPr>
            <p:spPr>
              <a:xfrm>
                <a:off x="6355614" y="3904678"/>
                <a:ext cx="73863" cy="79629"/>
              </a:xfrm>
              <a:custGeom>
                <a:avLst/>
                <a:gdLst>
                  <a:gd name="connsiteX0" fmla="*/ 0 w 73863"/>
                  <a:gd name="connsiteY0" fmla="*/ 52673 h 79629"/>
                  <a:gd name="connsiteX1" fmla="*/ 15780 w 73863"/>
                  <a:gd name="connsiteY1" fmla="*/ 52673 h 79629"/>
                  <a:gd name="connsiteX2" fmla="*/ 35838 w 73863"/>
                  <a:gd name="connsiteY2" fmla="*/ 67056 h 79629"/>
                  <a:gd name="connsiteX3" fmla="*/ 56277 w 73863"/>
                  <a:gd name="connsiteY3" fmla="*/ 55626 h 79629"/>
                  <a:gd name="connsiteX4" fmla="*/ 51143 w 73863"/>
                  <a:gd name="connsiteY4" fmla="*/ 48577 h 79629"/>
                  <a:gd name="connsiteX5" fmla="*/ 31561 w 73863"/>
                  <a:gd name="connsiteY5" fmla="*/ 45625 h 79629"/>
                  <a:gd name="connsiteX6" fmla="*/ 6749 w 73863"/>
                  <a:gd name="connsiteY6" fmla="*/ 39529 h 79629"/>
                  <a:gd name="connsiteX7" fmla="*/ 95 w 73863"/>
                  <a:gd name="connsiteY7" fmla="*/ 24860 h 79629"/>
                  <a:gd name="connsiteX8" fmla="*/ 35933 w 73863"/>
                  <a:gd name="connsiteY8" fmla="*/ 0 h 79629"/>
                  <a:gd name="connsiteX9" fmla="*/ 70536 w 73863"/>
                  <a:gd name="connsiteY9" fmla="*/ 27432 h 79629"/>
                  <a:gd name="connsiteX10" fmla="*/ 54756 w 73863"/>
                  <a:gd name="connsiteY10" fmla="*/ 27432 h 79629"/>
                  <a:gd name="connsiteX11" fmla="*/ 36409 w 73863"/>
                  <a:gd name="connsiteY11" fmla="*/ 12573 h 79629"/>
                  <a:gd name="connsiteX12" fmla="*/ 17396 w 73863"/>
                  <a:gd name="connsiteY12" fmla="*/ 23527 h 79629"/>
                  <a:gd name="connsiteX13" fmla="*/ 22720 w 73863"/>
                  <a:gd name="connsiteY13" fmla="*/ 31528 h 79629"/>
                  <a:gd name="connsiteX14" fmla="*/ 43158 w 73863"/>
                  <a:gd name="connsiteY14" fmla="*/ 34480 h 79629"/>
                  <a:gd name="connsiteX15" fmla="*/ 65783 w 73863"/>
                  <a:gd name="connsiteY15" fmla="*/ 39815 h 79629"/>
                  <a:gd name="connsiteX16" fmla="*/ 73863 w 73863"/>
                  <a:gd name="connsiteY16" fmla="*/ 54769 h 79629"/>
                  <a:gd name="connsiteX17" fmla="*/ 36124 w 73863"/>
                  <a:gd name="connsiteY17" fmla="*/ 79629 h 79629"/>
                  <a:gd name="connsiteX18" fmla="*/ 95 w 73863"/>
                  <a:gd name="connsiteY18" fmla="*/ 52673 h 79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73863" h="79629">
                    <a:moveTo>
                      <a:pt x="0" y="52673"/>
                    </a:moveTo>
                    <a:lnTo>
                      <a:pt x="15780" y="52673"/>
                    </a:lnTo>
                    <a:cubicBezTo>
                      <a:pt x="15780" y="61531"/>
                      <a:pt x="20914" y="67056"/>
                      <a:pt x="35838" y="67056"/>
                    </a:cubicBezTo>
                    <a:cubicBezTo>
                      <a:pt x="50003" y="67056"/>
                      <a:pt x="56277" y="62674"/>
                      <a:pt x="56277" y="55626"/>
                    </a:cubicBezTo>
                    <a:cubicBezTo>
                      <a:pt x="56277" y="52673"/>
                      <a:pt x="55136" y="50006"/>
                      <a:pt x="51143" y="48577"/>
                    </a:cubicBezTo>
                    <a:cubicBezTo>
                      <a:pt x="47436" y="47149"/>
                      <a:pt x="40116" y="46387"/>
                      <a:pt x="31561" y="45625"/>
                    </a:cubicBezTo>
                    <a:cubicBezTo>
                      <a:pt x="19583" y="44577"/>
                      <a:pt x="11503" y="42958"/>
                      <a:pt x="6749" y="39529"/>
                    </a:cubicBezTo>
                    <a:cubicBezTo>
                      <a:pt x="2567" y="36385"/>
                      <a:pt x="95" y="30766"/>
                      <a:pt x="95" y="24860"/>
                    </a:cubicBezTo>
                    <a:cubicBezTo>
                      <a:pt x="95" y="9430"/>
                      <a:pt x="15020" y="0"/>
                      <a:pt x="35933" y="0"/>
                    </a:cubicBezTo>
                    <a:cubicBezTo>
                      <a:pt x="59889" y="0"/>
                      <a:pt x="70536" y="10001"/>
                      <a:pt x="70536" y="27432"/>
                    </a:cubicBezTo>
                    <a:lnTo>
                      <a:pt x="54756" y="27432"/>
                    </a:lnTo>
                    <a:cubicBezTo>
                      <a:pt x="54566" y="17431"/>
                      <a:pt x="49147" y="12573"/>
                      <a:pt x="36409" y="12573"/>
                    </a:cubicBezTo>
                    <a:cubicBezTo>
                      <a:pt x="23671" y="12573"/>
                      <a:pt x="17396" y="16954"/>
                      <a:pt x="17396" y="23527"/>
                    </a:cubicBezTo>
                    <a:cubicBezTo>
                      <a:pt x="17396" y="26765"/>
                      <a:pt x="18157" y="29908"/>
                      <a:pt x="22720" y="31528"/>
                    </a:cubicBezTo>
                    <a:cubicBezTo>
                      <a:pt x="26427" y="32766"/>
                      <a:pt x="33747" y="33528"/>
                      <a:pt x="43158" y="34480"/>
                    </a:cubicBezTo>
                    <a:cubicBezTo>
                      <a:pt x="54090" y="35528"/>
                      <a:pt x="60269" y="36671"/>
                      <a:pt x="65783" y="39815"/>
                    </a:cubicBezTo>
                    <a:cubicBezTo>
                      <a:pt x="70916" y="42577"/>
                      <a:pt x="73863" y="48577"/>
                      <a:pt x="73863" y="54769"/>
                    </a:cubicBezTo>
                    <a:cubicBezTo>
                      <a:pt x="73863" y="70390"/>
                      <a:pt x="60745" y="79629"/>
                      <a:pt x="36124" y="79629"/>
                    </a:cubicBezTo>
                    <a:cubicBezTo>
                      <a:pt x="9601" y="79629"/>
                      <a:pt x="95" y="67723"/>
                      <a:pt x="95" y="52673"/>
                    </a:cubicBez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098793D3-75C7-DD4D-E5B5-6B658C51246B}"/>
                  </a:ext>
                </a:extLst>
              </p:cNvPr>
              <p:cNvSpPr/>
              <p:nvPr/>
            </p:nvSpPr>
            <p:spPr>
              <a:xfrm>
                <a:off x="6436797" y="3871817"/>
                <a:ext cx="56466" cy="111252"/>
              </a:xfrm>
              <a:custGeom>
                <a:avLst/>
                <a:gdLst>
                  <a:gd name="connsiteX0" fmla="*/ 12263 w 56466"/>
                  <a:gd name="connsiteY0" fmla="*/ 48387 h 111252"/>
                  <a:gd name="connsiteX1" fmla="*/ 0 w 56466"/>
                  <a:gd name="connsiteY1" fmla="*/ 48387 h 111252"/>
                  <a:gd name="connsiteX2" fmla="*/ 0 w 56466"/>
                  <a:gd name="connsiteY2" fmla="*/ 34195 h 111252"/>
                  <a:gd name="connsiteX3" fmla="*/ 12263 w 56466"/>
                  <a:gd name="connsiteY3" fmla="*/ 34195 h 111252"/>
                  <a:gd name="connsiteX4" fmla="*/ 12263 w 56466"/>
                  <a:gd name="connsiteY4" fmla="*/ 26575 h 111252"/>
                  <a:gd name="connsiteX5" fmla="*/ 40306 w 56466"/>
                  <a:gd name="connsiteY5" fmla="*/ 0 h 111252"/>
                  <a:gd name="connsiteX6" fmla="*/ 55231 w 56466"/>
                  <a:gd name="connsiteY6" fmla="*/ 2191 h 111252"/>
                  <a:gd name="connsiteX7" fmla="*/ 55231 w 56466"/>
                  <a:gd name="connsiteY7" fmla="*/ 16097 h 111252"/>
                  <a:gd name="connsiteX8" fmla="*/ 43348 w 56466"/>
                  <a:gd name="connsiteY8" fmla="*/ 14192 h 111252"/>
                  <a:gd name="connsiteX9" fmla="*/ 29659 w 56466"/>
                  <a:gd name="connsiteY9" fmla="*/ 27337 h 111252"/>
                  <a:gd name="connsiteX10" fmla="*/ 29659 w 56466"/>
                  <a:gd name="connsiteY10" fmla="*/ 34195 h 111252"/>
                  <a:gd name="connsiteX11" fmla="*/ 56467 w 56466"/>
                  <a:gd name="connsiteY11" fmla="*/ 34195 h 111252"/>
                  <a:gd name="connsiteX12" fmla="*/ 56467 w 56466"/>
                  <a:gd name="connsiteY12" fmla="*/ 48387 h 111252"/>
                  <a:gd name="connsiteX13" fmla="*/ 29659 w 56466"/>
                  <a:gd name="connsiteY13" fmla="*/ 48387 h 111252"/>
                  <a:gd name="connsiteX14" fmla="*/ 29659 w 56466"/>
                  <a:gd name="connsiteY14" fmla="*/ 111252 h 111252"/>
                  <a:gd name="connsiteX15" fmla="*/ 12168 w 56466"/>
                  <a:gd name="connsiteY15" fmla="*/ 111252 h 111252"/>
                  <a:gd name="connsiteX16" fmla="*/ 12168 w 56466"/>
                  <a:gd name="connsiteY16" fmla="*/ 48387 h 111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6466" h="111252">
                    <a:moveTo>
                      <a:pt x="12263" y="48387"/>
                    </a:moveTo>
                    <a:lnTo>
                      <a:pt x="0" y="48387"/>
                    </a:lnTo>
                    <a:lnTo>
                      <a:pt x="0" y="34195"/>
                    </a:lnTo>
                    <a:lnTo>
                      <a:pt x="12263" y="34195"/>
                    </a:lnTo>
                    <a:lnTo>
                      <a:pt x="12263" y="26575"/>
                    </a:lnTo>
                    <a:cubicBezTo>
                      <a:pt x="12263" y="9430"/>
                      <a:pt x="23670" y="0"/>
                      <a:pt x="40306" y="0"/>
                    </a:cubicBezTo>
                    <a:cubicBezTo>
                      <a:pt x="47151" y="0"/>
                      <a:pt x="52759" y="1238"/>
                      <a:pt x="55231" y="2191"/>
                    </a:cubicBezTo>
                    <a:lnTo>
                      <a:pt x="55231" y="16097"/>
                    </a:lnTo>
                    <a:cubicBezTo>
                      <a:pt x="52759" y="15335"/>
                      <a:pt x="48672" y="14192"/>
                      <a:pt x="43348" y="14192"/>
                    </a:cubicBezTo>
                    <a:cubicBezTo>
                      <a:pt x="34507" y="14192"/>
                      <a:pt x="29659" y="18860"/>
                      <a:pt x="29659" y="27337"/>
                    </a:cubicBezTo>
                    <a:lnTo>
                      <a:pt x="29659" y="34195"/>
                    </a:lnTo>
                    <a:lnTo>
                      <a:pt x="56467" y="34195"/>
                    </a:lnTo>
                    <a:lnTo>
                      <a:pt x="56467" y="48387"/>
                    </a:lnTo>
                    <a:lnTo>
                      <a:pt x="29659" y="48387"/>
                    </a:lnTo>
                    <a:lnTo>
                      <a:pt x="29659" y="111252"/>
                    </a:lnTo>
                    <a:lnTo>
                      <a:pt x="12168" y="111252"/>
                    </a:lnTo>
                    <a:lnTo>
                      <a:pt x="12168" y="48387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DEC6EDDD-901C-0F5B-C9AE-5E9A7EEC1BCB}"/>
                  </a:ext>
                </a:extLst>
              </p:cNvPr>
              <p:cNvSpPr/>
              <p:nvPr/>
            </p:nvSpPr>
            <p:spPr>
              <a:xfrm>
                <a:off x="6497732" y="3904773"/>
                <a:ext cx="80517" cy="79533"/>
              </a:xfrm>
              <a:custGeom>
                <a:avLst/>
                <a:gdLst>
                  <a:gd name="connsiteX0" fmla="*/ 0 w 80517"/>
                  <a:gd name="connsiteY0" fmla="*/ 39910 h 79533"/>
                  <a:gd name="connsiteX1" fmla="*/ 40211 w 80517"/>
                  <a:gd name="connsiteY1" fmla="*/ 0 h 79533"/>
                  <a:gd name="connsiteX2" fmla="*/ 80518 w 80517"/>
                  <a:gd name="connsiteY2" fmla="*/ 39910 h 79533"/>
                  <a:gd name="connsiteX3" fmla="*/ 40211 w 80517"/>
                  <a:gd name="connsiteY3" fmla="*/ 79534 h 79533"/>
                  <a:gd name="connsiteX4" fmla="*/ 0 w 80517"/>
                  <a:gd name="connsiteY4" fmla="*/ 39910 h 79533"/>
                  <a:gd name="connsiteX5" fmla="*/ 63121 w 80517"/>
                  <a:gd name="connsiteY5" fmla="*/ 39910 h 79533"/>
                  <a:gd name="connsiteX6" fmla="*/ 40211 w 80517"/>
                  <a:gd name="connsiteY6" fmla="*/ 14288 h 79533"/>
                  <a:gd name="connsiteX7" fmla="*/ 17492 w 80517"/>
                  <a:gd name="connsiteY7" fmla="*/ 39910 h 79533"/>
                  <a:gd name="connsiteX8" fmla="*/ 40211 w 80517"/>
                  <a:gd name="connsiteY8" fmla="*/ 65151 h 79533"/>
                  <a:gd name="connsiteX9" fmla="*/ 63121 w 80517"/>
                  <a:gd name="connsiteY9" fmla="*/ 39910 h 79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0517" h="79533">
                    <a:moveTo>
                      <a:pt x="0" y="39910"/>
                    </a:moveTo>
                    <a:cubicBezTo>
                      <a:pt x="0" y="15240"/>
                      <a:pt x="15780" y="0"/>
                      <a:pt x="40211" y="0"/>
                    </a:cubicBezTo>
                    <a:cubicBezTo>
                      <a:pt x="64642" y="0"/>
                      <a:pt x="80518" y="15335"/>
                      <a:pt x="80518" y="39910"/>
                    </a:cubicBezTo>
                    <a:cubicBezTo>
                      <a:pt x="80518" y="64484"/>
                      <a:pt x="64737" y="79534"/>
                      <a:pt x="40211" y="79534"/>
                    </a:cubicBezTo>
                    <a:cubicBezTo>
                      <a:pt x="15685" y="79534"/>
                      <a:pt x="0" y="64389"/>
                      <a:pt x="0" y="39910"/>
                    </a:cubicBezTo>
                    <a:close/>
                    <a:moveTo>
                      <a:pt x="63121" y="39910"/>
                    </a:moveTo>
                    <a:cubicBezTo>
                      <a:pt x="63121" y="24098"/>
                      <a:pt x="54376" y="14288"/>
                      <a:pt x="40211" y="14288"/>
                    </a:cubicBezTo>
                    <a:cubicBezTo>
                      <a:pt x="26047" y="14288"/>
                      <a:pt x="17492" y="24098"/>
                      <a:pt x="17492" y="39910"/>
                    </a:cubicBezTo>
                    <a:cubicBezTo>
                      <a:pt x="17492" y="55721"/>
                      <a:pt x="26047" y="65151"/>
                      <a:pt x="40211" y="65151"/>
                    </a:cubicBezTo>
                    <a:cubicBezTo>
                      <a:pt x="54376" y="65151"/>
                      <a:pt x="63121" y="55435"/>
                      <a:pt x="63121" y="39910"/>
                    </a:cubicBez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38" name="Freeform 37">
                <a:extLst>
                  <a:ext uri="{FF2B5EF4-FFF2-40B4-BE49-F238E27FC236}">
                    <a16:creationId xmlns:a16="http://schemas.microsoft.com/office/drawing/2014/main" id="{30BADD50-4056-F104-1C12-673BE324C267}"/>
                  </a:ext>
                </a:extLst>
              </p:cNvPr>
              <p:cNvSpPr/>
              <p:nvPr/>
            </p:nvSpPr>
            <p:spPr>
              <a:xfrm>
                <a:off x="6593174" y="3904773"/>
                <a:ext cx="70250" cy="78295"/>
              </a:xfrm>
              <a:custGeom>
                <a:avLst/>
                <a:gdLst>
                  <a:gd name="connsiteX0" fmla="*/ 0 w 70250"/>
                  <a:gd name="connsiteY0" fmla="*/ 1238 h 78295"/>
                  <a:gd name="connsiteX1" fmla="*/ 17491 w 70250"/>
                  <a:gd name="connsiteY1" fmla="*/ 1238 h 78295"/>
                  <a:gd name="connsiteX2" fmla="*/ 16826 w 70250"/>
                  <a:gd name="connsiteY2" fmla="*/ 23432 h 78295"/>
                  <a:gd name="connsiteX3" fmla="*/ 17016 w 70250"/>
                  <a:gd name="connsiteY3" fmla="*/ 23432 h 78295"/>
                  <a:gd name="connsiteX4" fmla="*/ 44394 w 70250"/>
                  <a:gd name="connsiteY4" fmla="*/ 0 h 78295"/>
                  <a:gd name="connsiteX5" fmla="*/ 70251 w 70250"/>
                  <a:gd name="connsiteY5" fmla="*/ 30099 h 78295"/>
                  <a:gd name="connsiteX6" fmla="*/ 69490 w 70250"/>
                  <a:gd name="connsiteY6" fmla="*/ 44482 h 78295"/>
                  <a:gd name="connsiteX7" fmla="*/ 53615 w 70250"/>
                  <a:gd name="connsiteY7" fmla="*/ 44482 h 78295"/>
                  <a:gd name="connsiteX8" fmla="*/ 54280 w 70250"/>
                  <a:gd name="connsiteY8" fmla="*/ 34004 h 78295"/>
                  <a:gd name="connsiteX9" fmla="*/ 38975 w 70250"/>
                  <a:gd name="connsiteY9" fmla="*/ 14954 h 78295"/>
                  <a:gd name="connsiteX10" fmla="*/ 17491 w 70250"/>
                  <a:gd name="connsiteY10" fmla="*/ 44577 h 78295"/>
                  <a:gd name="connsiteX11" fmla="*/ 17491 w 70250"/>
                  <a:gd name="connsiteY11" fmla="*/ 78296 h 78295"/>
                  <a:gd name="connsiteX12" fmla="*/ 0 w 70250"/>
                  <a:gd name="connsiteY12" fmla="*/ 78296 h 78295"/>
                  <a:gd name="connsiteX13" fmla="*/ 0 w 70250"/>
                  <a:gd name="connsiteY13" fmla="*/ 1238 h 78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0250" h="78295">
                    <a:moveTo>
                      <a:pt x="0" y="1238"/>
                    </a:moveTo>
                    <a:lnTo>
                      <a:pt x="17491" y="1238"/>
                    </a:lnTo>
                    <a:lnTo>
                      <a:pt x="16826" y="23432"/>
                    </a:lnTo>
                    <a:lnTo>
                      <a:pt x="17016" y="23432"/>
                    </a:lnTo>
                    <a:cubicBezTo>
                      <a:pt x="20628" y="9525"/>
                      <a:pt x="28519" y="0"/>
                      <a:pt x="44394" y="0"/>
                    </a:cubicBezTo>
                    <a:cubicBezTo>
                      <a:pt x="61030" y="0"/>
                      <a:pt x="70251" y="10954"/>
                      <a:pt x="70251" y="30099"/>
                    </a:cubicBezTo>
                    <a:cubicBezTo>
                      <a:pt x="70251" y="34957"/>
                      <a:pt x="69776" y="41148"/>
                      <a:pt x="69490" y="44482"/>
                    </a:cubicBezTo>
                    <a:lnTo>
                      <a:pt x="53615" y="44482"/>
                    </a:lnTo>
                    <a:cubicBezTo>
                      <a:pt x="53900" y="41529"/>
                      <a:pt x="54280" y="37624"/>
                      <a:pt x="54280" y="34004"/>
                    </a:cubicBezTo>
                    <a:cubicBezTo>
                      <a:pt x="54280" y="21050"/>
                      <a:pt x="49337" y="14954"/>
                      <a:pt x="38975" y="14954"/>
                    </a:cubicBezTo>
                    <a:cubicBezTo>
                      <a:pt x="25762" y="14954"/>
                      <a:pt x="17491" y="26194"/>
                      <a:pt x="17491" y="44577"/>
                    </a:cubicBezTo>
                    <a:lnTo>
                      <a:pt x="17491" y="78296"/>
                    </a:lnTo>
                    <a:lnTo>
                      <a:pt x="0" y="78296"/>
                    </a:lnTo>
                    <a:lnTo>
                      <a:pt x="0" y="1238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39" name="Freeform 38">
                <a:extLst>
                  <a:ext uri="{FF2B5EF4-FFF2-40B4-BE49-F238E27FC236}">
                    <a16:creationId xmlns:a16="http://schemas.microsoft.com/office/drawing/2014/main" id="{D3472F8A-847F-E5FE-AA51-027CF785CFE4}"/>
                  </a:ext>
                </a:extLst>
              </p:cNvPr>
              <p:cNvSpPr/>
              <p:nvPr/>
            </p:nvSpPr>
            <p:spPr>
              <a:xfrm>
                <a:off x="6678445" y="3904773"/>
                <a:ext cx="124246" cy="78295"/>
              </a:xfrm>
              <a:custGeom>
                <a:avLst/>
                <a:gdLst>
                  <a:gd name="connsiteX0" fmla="*/ 0 w 124246"/>
                  <a:gd name="connsiteY0" fmla="*/ 1238 h 78295"/>
                  <a:gd name="connsiteX1" fmla="*/ 17491 w 124246"/>
                  <a:gd name="connsiteY1" fmla="*/ 1238 h 78295"/>
                  <a:gd name="connsiteX2" fmla="*/ 16826 w 124246"/>
                  <a:gd name="connsiteY2" fmla="*/ 21527 h 78295"/>
                  <a:gd name="connsiteX3" fmla="*/ 17016 w 124246"/>
                  <a:gd name="connsiteY3" fmla="*/ 21527 h 78295"/>
                  <a:gd name="connsiteX4" fmla="*/ 43824 w 124246"/>
                  <a:gd name="connsiteY4" fmla="*/ 0 h 78295"/>
                  <a:gd name="connsiteX5" fmla="*/ 70346 w 124246"/>
                  <a:gd name="connsiteY5" fmla="*/ 20288 h 78295"/>
                  <a:gd name="connsiteX6" fmla="*/ 70536 w 124246"/>
                  <a:gd name="connsiteY6" fmla="*/ 20288 h 78295"/>
                  <a:gd name="connsiteX7" fmla="*/ 97344 w 124246"/>
                  <a:gd name="connsiteY7" fmla="*/ 0 h 78295"/>
                  <a:gd name="connsiteX8" fmla="*/ 124246 w 124246"/>
                  <a:gd name="connsiteY8" fmla="*/ 29147 h 78295"/>
                  <a:gd name="connsiteX9" fmla="*/ 124246 w 124246"/>
                  <a:gd name="connsiteY9" fmla="*/ 78296 h 78295"/>
                  <a:gd name="connsiteX10" fmla="*/ 106755 w 124246"/>
                  <a:gd name="connsiteY10" fmla="*/ 78296 h 78295"/>
                  <a:gd name="connsiteX11" fmla="*/ 106755 w 124246"/>
                  <a:gd name="connsiteY11" fmla="*/ 33052 h 78295"/>
                  <a:gd name="connsiteX12" fmla="*/ 90879 w 124246"/>
                  <a:gd name="connsiteY12" fmla="*/ 14954 h 78295"/>
                  <a:gd name="connsiteX13" fmla="*/ 70916 w 124246"/>
                  <a:gd name="connsiteY13" fmla="*/ 40100 h 78295"/>
                  <a:gd name="connsiteX14" fmla="*/ 70916 w 124246"/>
                  <a:gd name="connsiteY14" fmla="*/ 78296 h 78295"/>
                  <a:gd name="connsiteX15" fmla="*/ 53425 w 124246"/>
                  <a:gd name="connsiteY15" fmla="*/ 78296 h 78295"/>
                  <a:gd name="connsiteX16" fmla="*/ 53425 w 124246"/>
                  <a:gd name="connsiteY16" fmla="*/ 32766 h 78295"/>
                  <a:gd name="connsiteX17" fmla="*/ 37264 w 124246"/>
                  <a:gd name="connsiteY17" fmla="*/ 14954 h 78295"/>
                  <a:gd name="connsiteX18" fmla="*/ 17491 w 124246"/>
                  <a:gd name="connsiteY18" fmla="*/ 40672 h 78295"/>
                  <a:gd name="connsiteX19" fmla="*/ 17491 w 124246"/>
                  <a:gd name="connsiteY19" fmla="*/ 78296 h 78295"/>
                  <a:gd name="connsiteX20" fmla="*/ 0 w 124246"/>
                  <a:gd name="connsiteY20" fmla="*/ 78296 h 78295"/>
                  <a:gd name="connsiteX21" fmla="*/ 0 w 124246"/>
                  <a:gd name="connsiteY21" fmla="*/ 1238 h 78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4246" h="78295">
                    <a:moveTo>
                      <a:pt x="0" y="1238"/>
                    </a:moveTo>
                    <a:lnTo>
                      <a:pt x="17491" y="1238"/>
                    </a:lnTo>
                    <a:lnTo>
                      <a:pt x="16826" y="21527"/>
                    </a:lnTo>
                    <a:lnTo>
                      <a:pt x="17016" y="21527"/>
                    </a:lnTo>
                    <a:cubicBezTo>
                      <a:pt x="20438" y="8287"/>
                      <a:pt x="29754" y="0"/>
                      <a:pt x="43824" y="0"/>
                    </a:cubicBezTo>
                    <a:cubicBezTo>
                      <a:pt x="58748" y="0"/>
                      <a:pt x="68445" y="7810"/>
                      <a:pt x="70346" y="20288"/>
                    </a:cubicBezTo>
                    <a:lnTo>
                      <a:pt x="70536" y="20288"/>
                    </a:lnTo>
                    <a:cubicBezTo>
                      <a:pt x="73293" y="7810"/>
                      <a:pt x="82704" y="0"/>
                      <a:pt x="97344" y="0"/>
                    </a:cubicBezTo>
                    <a:cubicBezTo>
                      <a:pt x="114455" y="0"/>
                      <a:pt x="124246" y="11049"/>
                      <a:pt x="124246" y="29147"/>
                    </a:cubicBezTo>
                    <a:lnTo>
                      <a:pt x="124246" y="78296"/>
                    </a:lnTo>
                    <a:lnTo>
                      <a:pt x="106755" y="78296"/>
                    </a:lnTo>
                    <a:lnTo>
                      <a:pt x="106755" y="33052"/>
                    </a:lnTo>
                    <a:cubicBezTo>
                      <a:pt x="106755" y="21812"/>
                      <a:pt x="101336" y="14954"/>
                      <a:pt x="90879" y="14954"/>
                    </a:cubicBezTo>
                    <a:cubicBezTo>
                      <a:pt x="78711" y="14954"/>
                      <a:pt x="70916" y="24003"/>
                      <a:pt x="70916" y="40100"/>
                    </a:cubicBezTo>
                    <a:lnTo>
                      <a:pt x="70916" y="78296"/>
                    </a:lnTo>
                    <a:lnTo>
                      <a:pt x="53425" y="78296"/>
                    </a:lnTo>
                    <a:lnTo>
                      <a:pt x="53425" y="32766"/>
                    </a:lnTo>
                    <a:cubicBezTo>
                      <a:pt x="53425" y="21812"/>
                      <a:pt x="47626" y="14954"/>
                      <a:pt x="37264" y="14954"/>
                    </a:cubicBezTo>
                    <a:cubicBezTo>
                      <a:pt x="25382" y="14954"/>
                      <a:pt x="17491" y="24194"/>
                      <a:pt x="17491" y="40672"/>
                    </a:cubicBezTo>
                    <a:lnTo>
                      <a:pt x="17491" y="78296"/>
                    </a:lnTo>
                    <a:lnTo>
                      <a:pt x="0" y="78296"/>
                    </a:lnTo>
                    <a:lnTo>
                      <a:pt x="0" y="1238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B182A506-4997-AC1D-1793-C8EBAB0B7F39}"/>
                  </a:ext>
                </a:extLst>
              </p:cNvPr>
              <p:cNvSpPr/>
              <p:nvPr/>
            </p:nvSpPr>
            <p:spPr>
              <a:xfrm>
                <a:off x="6819708" y="3879818"/>
                <a:ext cx="17871" cy="103250"/>
              </a:xfrm>
              <a:custGeom>
                <a:avLst/>
                <a:gdLst>
                  <a:gd name="connsiteX0" fmla="*/ 0 w 17871"/>
                  <a:gd name="connsiteY0" fmla="*/ 0 h 103250"/>
                  <a:gd name="connsiteX1" fmla="*/ 17872 w 17871"/>
                  <a:gd name="connsiteY1" fmla="*/ 0 h 103250"/>
                  <a:gd name="connsiteX2" fmla="*/ 17872 w 17871"/>
                  <a:gd name="connsiteY2" fmla="*/ 17145 h 103250"/>
                  <a:gd name="connsiteX3" fmla="*/ 0 w 17871"/>
                  <a:gd name="connsiteY3" fmla="*/ 17145 h 103250"/>
                  <a:gd name="connsiteX4" fmla="*/ 0 w 17871"/>
                  <a:gd name="connsiteY4" fmla="*/ 0 h 103250"/>
                  <a:gd name="connsiteX5" fmla="*/ 190 w 17871"/>
                  <a:gd name="connsiteY5" fmla="*/ 26194 h 103250"/>
                  <a:gd name="connsiteX6" fmla="*/ 17682 w 17871"/>
                  <a:gd name="connsiteY6" fmla="*/ 26194 h 103250"/>
                  <a:gd name="connsiteX7" fmla="*/ 17682 w 17871"/>
                  <a:gd name="connsiteY7" fmla="*/ 103251 h 103250"/>
                  <a:gd name="connsiteX8" fmla="*/ 190 w 17871"/>
                  <a:gd name="connsiteY8" fmla="*/ 103251 h 103250"/>
                  <a:gd name="connsiteX9" fmla="*/ 190 w 17871"/>
                  <a:gd name="connsiteY9" fmla="*/ 26194 h 103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871" h="103250">
                    <a:moveTo>
                      <a:pt x="0" y="0"/>
                    </a:moveTo>
                    <a:lnTo>
                      <a:pt x="17872" y="0"/>
                    </a:lnTo>
                    <a:lnTo>
                      <a:pt x="17872" y="17145"/>
                    </a:lnTo>
                    <a:lnTo>
                      <a:pt x="0" y="17145"/>
                    </a:lnTo>
                    <a:lnTo>
                      <a:pt x="0" y="0"/>
                    </a:lnTo>
                    <a:close/>
                    <a:moveTo>
                      <a:pt x="190" y="26194"/>
                    </a:moveTo>
                    <a:lnTo>
                      <a:pt x="17682" y="26194"/>
                    </a:lnTo>
                    <a:lnTo>
                      <a:pt x="17682" y="103251"/>
                    </a:lnTo>
                    <a:lnTo>
                      <a:pt x="190" y="103251"/>
                    </a:lnTo>
                    <a:lnTo>
                      <a:pt x="190" y="26194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41" name="Freeform 40">
                <a:extLst>
                  <a:ext uri="{FF2B5EF4-FFF2-40B4-BE49-F238E27FC236}">
                    <a16:creationId xmlns:a16="http://schemas.microsoft.com/office/drawing/2014/main" id="{F98AF2A8-9CA4-1E7A-6C12-1C43C9E6280B}"/>
                  </a:ext>
                </a:extLst>
              </p:cNvPr>
              <p:cNvSpPr/>
              <p:nvPr/>
            </p:nvSpPr>
            <p:spPr>
              <a:xfrm>
                <a:off x="6855546" y="3904773"/>
                <a:ext cx="80612" cy="78390"/>
              </a:xfrm>
              <a:custGeom>
                <a:avLst/>
                <a:gdLst>
                  <a:gd name="connsiteX0" fmla="*/ 0 w 80612"/>
                  <a:gd name="connsiteY0" fmla="*/ 1238 h 78390"/>
                  <a:gd name="connsiteX1" fmla="*/ 17492 w 80612"/>
                  <a:gd name="connsiteY1" fmla="*/ 1238 h 78390"/>
                  <a:gd name="connsiteX2" fmla="*/ 16826 w 80612"/>
                  <a:gd name="connsiteY2" fmla="*/ 21812 h 78390"/>
                  <a:gd name="connsiteX3" fmla="*/ 17016 w 80612"/>
                  <a:gd name="connsiteY3" fmla="*/ 21812 h 78390"/>
                  <a:gd name="connsiteX4" fmla="*/ 49147 w 80612"/>
                  <a:gd name="connsiteY4" fmla="*/ 0 h 78390"/>
                  <a:gd name="connsiteX5" fmla="*/ 80613 w 80612"/>
                  <a:gd name="connsiteY5" fmla="*/ 30099 h 78390"/>
                  <a:gd name="connsiteX6" fmla="*/ 80613 w 80612"/>
                  <a:gd name="connsiteY6" fmla="*/ 78296 h 78390"/>
                  <a:gd name="connsiteX7" fmla="*/ 63121 w 80612"/>
                  <a:gd name="connsiteY7" fmla="*/ 78296 h 78390"/>
                  <a:gd name="connsiteX8" fmla="*/ 63121 w 80612"/>
                  <a:gd name="connsiteY8" fmla="*/ 34004 h 78390"/>
                  <a:gd name="connsiteX9" fmla="*/ 42398 w 80612"/>
                  <a:gd name="connsiteY9" fmla="*/ 14954 h 78390"/>
                  <a:gd name="connsiteX10" fmla="*/ 17492 w 80612"/>
                  <a:gd name="connsiteY10" fmla="*/ 41053 h 78390"/>
                  <a:gd name="connsiteX11" fmla="*/ 17492 w 80612"/>
                  <a:gd name="connsiteY11" fmla="*/ 78391 h 78390"/>
                  <a:gd name="connsiteX12" fmla="*/ 0 w 80612"/>
                  <a:gd name="connsiteY12" fmla="*/ 78391 h 78390"/>
                  <a:gd name="connsiteX13" fmla="*/ 0 w 80612"/>
                  <a:gd name="connsiteY13" fmla="*/ 1333 h 78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80612" h="78390">
                    <a:moveTo>
                      <a:pt x="0" y="1238"/>
                    </a:moveTo>
                    <a:lnTo>
                      <a:pt x="17492" y="1238"/>
                    </a:lnTo>
                    <a:lnTo>
                      <a:pt x="16826" y="21812"/>
                    </a:lnTo>
                    <a:lnTo>
                      <a:pt x="17016" y="21812"/>
                    </a:lnTo>
                    <a:cubicBezTo>
                      <a:pt x="21199" y="7906"/>
                      <a:pt x="31180" y="0"/>
                      <a:pt x="49147" y="0"/>
                    </a:cubicBezTo>
                    <a:cubicBezTo>
                      <a:pt x="68635" y="0"/>
                      <a:pt x="80613" y="11049"/>
                      <a:pt x="80613" y="30099"/>
                    </a:cubicBezTo>
                    <a:lnTo>
                      <a:pt x="80613" y="78296"/>
                    </a:lnTo>
                    <a:lnTo>
                      <a:pt x="63121" y="78296"/>
                    </a:lnTo>
                    <a:lnTo>
                      <a:pt x="63121" y="34004"/>
                    </a:lnTo>
                    <a:cubicBezTo>
                      <a:pt x="63121" y="21812"/>
                      <a:pt x="56277" y="14954"/>
                      <a:pt x="42398" y="14954"/>
                    </a:cubicBezTo>
                    <a:cubicBezTo>
                      <a:pt x="27093" y="14954"/>
                      <a:pt x="17492" y="24194"/>
                      <a:pt x="17492" y="41053"/>
                    </a:cubicBezTo>
                    <a:lnTo>
                      <a:pt x="17492" y="78391"/>
                    </a:lnTo>
                    <a:lnTo>
                      <a:pt x="0" y="78391"/>
                    </a:lnTo>
                    <a:lnTo>
                      <a:pt x="0" y="1333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E120418C-91A6-D9CC-FFE2-3B2C7F960F72}"/>
                  </a:ext>
                </a:extLst>
              </p:cNvPr>
              <p:cNvSpPr/>
              <p:nvPr/>
            </p:nvSpPr>
            <p:spPr>
              <a:xfrm>
                <a:off x="6950133" y="3890581"/>
                <a:ext cx="82133" cy="125730"/>
              </a:xfrm>
              <a:custGeom>
                <a:avLst/>
                <a:gdLst>
                  <a:gd name="connsiteX0" fmla="*/ 82039 w 82133"/>
                  <a:gd name="connsiteY0" fmla="*/ 99822 h 125730"/>
                  <a:gd name="connsiteX1" fmla="*/ 41542 w 82133"/>
                  <a:gd name="connsiteY1" fmla="*/ 125730 h 125730"/>
                  <a:gd name="connsiteX2" fmla="*/ 0 w 82133"/>
                  <a:gd name="connsiteY2" fmla="*/ 103918 h 125730"/>
                  <a:gd name="connsiteX3" fmla="*/ 14925 w 82133"/>
                  <a:gd name="connsiteY3" fmla="*/ 89916 h 125730"/>
                  <a:gd name="connsiteX4" fmla="*/ 14925 w 82133"/>
                  <a:gd name="connsiteY4" fmla="*/ 89725 h 125730"/>
                  <a:gd name="connsiteX5" fmla="*/ 8175 w 82133"/>
                  <a:gd name="connsiteY5" fmla="*/ 77057 h 125730"/>
                  <a:gd name="connsiteX6" fmla="*/ 15305 w 82133"/>
                  <a:gd name="connsiteY6" fmla="*/ 63913 h 125730"/>
                  <a:gd name="connsiteX7" fmla="*/ 15305 w 82133"/>
                  <a:gd name="connsiteY7" fmla="*/ 63627 h 125730"/>
                  <a:gd name="connsiteX8" fmla="*/ 3422 w 82133"/>
                  <a:gd name="connsiteY8" fmla="*/ 41624 h 125730"/>
                  <a:gd name="connsiteX9" fmla="*/ 37740 w 82133"/>
                  <a:gd name="connsiteY9" fmla="*/ 14192 h 125730"/>
                  <a:gd name="connsiteX10" fmla="*/ 59224 w 82133"/>
                  <a:gd name="connsiteY10" fmla="*/ 19145 h 125730"/>
                  <a:gd name="connsiteX11" fmla="*/ 59414 w 82133"/>
                  <a:gd name="connsiteY11" fmla="*/ 18955 h 125730"/>
                  <a:gd name="connsiteX12" fmla="*/ 55706 w 82133"/>
                  <a:gd name="connsiteY12" fmla="*/ 10192 h 125730"/>
                  <a:gd name="connsiteX13" fmla="*/ 70821 w 82133"/>
                  <a:gd name="connsiteY13" fmla="*/ 0 h 125730"/>
                  <a:gd name="connsiteX14" fmla="*/ 78616 w 82133"/>
                  <a:gd name="connsiteY14" fmla="*/ 762 h 125730"/>
                  <a:gd name="connsiteX15" fmla="*/ 78616 w 82133"/>
                  <a:gd name="connsiteY15" fmla="*/ 13049 h 125730"/>
                  <a:gd name="connsiteX16" fmla="*/ 73483 w 82133"/>
                  <a:gd name="connsiteY16" fmla="*/ 12287 h 125730"/>
                  <a:gd name="connsiteX17" fmla="*/ 65878 w 82133"/>
                  <a:gd name="connsiteY17" fmla="*/ 18669 h 125730"/>
                  <a:gd name="connsiteX18" fmla="*/ 67589 w 82133"/>
                  <a:gd name="connsiteY18" fmla="*/ 26479 h 125730"/>
                  <a:gd name="connsiteX19" fmla="*/ 72152 w 82133"/>
                  <a:gd name="connsiteY19" fmla="*/ 41434 h 125730"/>
                  <a:gd name="connsiteX20" fmla="*/ 37930 w 82133"/>
                  <a:gd name="connsiteY20" fmla="*/ 68866 h 125730"/>
                  <a:gd name="connsiteX21" fmla="*/ 24336 w 82133"/>
                  <a:gd name="connsiteY21" fmla="*/ 67151 h 125730"/>
                  <a:gd name="connsiteX22" fmla="*/ 22435 w 82133"/>
                  <a:gd name="connsiteY22" fmla="*/ 73057 h 125730"/>
                  <a:gd name="connsiteX23" fmla="*/ 31180 w 82133"/>
                  <a:gd name="connsiteY23" fmla="*/ 80105 h 125730"/>
                  <a:gd name="connsiteX24" fmla="*/ 56087 w 82133"/>
                  <a:gd name="connsiteY24" fmla="*/ 80105 h 125730"/>
                  <a:gd name="connsiteX25" fmla="*/ 82134 w 82133"/>
                  <a:gd name="connsiteY25" fmla="*/ 99631 h 125730"/>
                  <a:gd name="connsiteX26" fmla="*/ 64547 w 82133"/>
                  <a:gd name="connsiteY26" fmla="*/ 101822 h 125730"/>
                  <a:gd name="connsiteX27" fmla="*/ 52379 w 82133"/>
                  <a:gd name="connsiteY27" fmla="*/ 93821 h 125730"/>
                  <a:gd name="connsiteX28" fmla="*/ 31466 w 82133"/>
                  <a:gd name="connsiteY28" fmla="*/ 93821 h 125730"/>
                  <a:gd name="connsiteX29" fmla="*/ 17111 w 82133"/>
                  <a:gd name="connsiteY29" fmla="*/ 102394 h 125730"/>
                  <a:gd name="connsiteX30" fmla="*/ 41257 w 82133"/>
                  <a:gd name="connsiteY30" fmla="*/ 113348 h 125730"/>
                  <a:gd name="connsiteX31" fmla="*/ 64452 w 82133"/>
                  <a:gd name="connsiteY31" fmla="*/ 101822 h 125730"/>
                  <a:gd name="connsiteX32" fmla="*/ 20153 w 82133"/>
                  <a:gd name="connsiteY32" fmla="*/ 41624 h 125730"/>
                  <a:gd name="connsiteX33" fmla="*/ 37740 w 82133"/>
                  <a:gd name="connsiteY33" fmla="*/ 56579 h 125730"/>
                  <a:gd name="connsiteX34" fmla="*/ 55326 w 82133"/>
                  <a:gd name="connsiteY34" fmla="*/ 41624 h 125730"/>
                  <a:gd name="connsiteX35" fmla="*/ 37740 w 82133"/>
                  <a:gd name="connsiteY35" fmla="*/ 26670 h 125730"/>
                  <a:gd name="connsiteX36" fmla="*/ 20153 w 82133"/>
                  <a:gd name="connsiteY36" fmla="*/ 41624 h 125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82133" h="125730">
                    <a:moveTo>
                      <a:pt x="82039" y="99822"/>
                    </a:moveTo>
                    <a:cubicBezTo>
                      <a:pt x="82039" y="116015"/>
                      <a:pt x="66924" y="125730"/>
                      <a:pt x="41542" y="125730"/>
                    </a:cubicBezTo>
                    <a:cubicBezTo>
                      <a:pt x="16160" y="125730"/>
                      <a:pt x="0" y="117729"/>
                      <a:pt x="0" y="103918"/>
                    </a:cubicBezTo>
                    <a:cubicBezTo>
                      <a:pt x="0" y="96107"/>
                      <a:pt x="5799" y="90297"/>
                      <a:pt x="14925" y="89916"/>
                    </a:cubicBezTo>
                    <a:lnTo>
                      <a:pt x="14925" y="89725"/>
                    </a:lnTo>
                    <a:cubicBezTo>
                      <a:pt x="10552" y="86773"/>
                      <a:pt x="8175" y="82582"/>
                      <a:pt x="8175" y="77057"/>
                    </a:cubicBezTo>
                    <a:cubicBezTo>
                      <a:pt x="8175" y="70485"/>
                      <a:pt x="11122" y="66008"/>
                      <a:pt x="15305" y="63913"/>
                    </a:cubicBezTo>
                    <a:lnTo>
                      <a:pt x="15305" y="63627"/>
                    </a:lnTo>
                    <a:cubicBezTo>
                      <a:pt x="7700" y="58960"/>
                      <a:pt x="3422" y="51340"/>
                      <a:pt x="3422" y="41624"/>
                    </a:cubicBezTo>
                    <a:cubicBezTo>
                      <a:pt x="3422" y="24765"/>
                      <a:pt x="16541" y="14192"/>
                      <a:pt x="37740" y="14192"/>
                    </a:cubicBezTo>
                    <a:cubicBezTo>
                      <a:pt x="46485" y="14192"/>
                      <a:pt x="53615" y="15907"/>
                      <a:pt x="59224" y="19145"/>
                    </a:cubicBezTo>
                    <a:lnTo>
                      <a:pt x="59414" y="18955"/>
                    </a:lnTo>
                    <a:cubicBezTo>
                      <a:pt x="57037" y="16478"/>
                      <a:pt x="55706" y="13525"/>
                      <a:pt x="55706" y="10192"/>
                    </a:cubicBezTo>
                    <a:cubicBezTo>
                      <a:pt x="55706" y="3905"/>
                      <a:pt x="61600" y="0"/>
                      <a:pt x="70821" y="0"/>
                    </a:cubicBezTo>
                    <a:cubicBezTo>
                      <a:pt x="74529" y="0"/>
                      <a:pt x="76715" y="286"/>
                      <a:pt x="78616" y="762"/>
                    </a:cubicBezTo>
                    <a:lnTo>
                      <a:pt x="78616" y="13049"/>
                    </a:lnTo>
                    <a:cubicBezTo>
                      <a:pt x="77380" y="12573"/>
                      <a:pt x="75669" y="12287"/>
                      <a:pt x="73483" y="12287"/>
                    </a:cubicBezTo>
                    <a:cubicBezTo>
                      <a:pt x="68350" y="12287"/>
                      <a:pt x="65878" y="14478"/>
                      <a:pt x="65878" y="18669"/>
                    </a:cubicBezTo>
                    <a:cubicBezTo>
                      <a:pt x="65878" y="20860"/>
                      <a:pt x="66638" y="23527"/>
                      <a:pt x="67589" y="26479"/>
                    </a:cubicBezTo>
                    <a:cubicBezTo>
                      <a:pt x="70536" y="30575"/>
                      <a:pt x="72152" y="35719"/>
                      <a:pt x="72152" y="41434"/>
                    </a:cubicBezTo>
                    <a:cubicBezTo>
                      <a:pt x="72152" y="58483"/>
                      <a:pt x="59034" y="68866"/>
                      <a:pt x="37930" y="68866"/>
                    </a:cubicBezTo>
                    <a:cubicBezTo>
                      <a:pt x="32987" y="68866"/>
                      <a:pt x="28423" y="68199"/>
                      <a:pt x="24336" y="67151"/>
                    </a:cubicBezTo>
                    <a:cubicBezTo>
                      <a:pt x="23385" y="68199"/>
                      <a:pt x="22435" y="70390"/>
                      <a:pt x="22435" y="73057"/>
                    </a:cubicBezTo>
                    <a:cubicBezTo>
                      <a:pt x="22435" y="77438"/>
                      <a:pt x="25572" y="80105"/>
                      <a:pt x="31180" y="80105"/>
                    </a:cubicBezTo>
                    <a:lnTo>
                      <a:pt x="56087" y="80105"/>
                    </a:lnTo>
                    <a:cubicBezTo>
                      <a:pt x="72627" y="80105"/>
                      <a:pt x="82134" y="87249"/>
                      <a:pt x="82134" y="99631"/>
                    </a:cubicBezTo>
                    <a:close/>
                    <a:moveTo>
                      <a:pt x="64547" y="101822"/>
                    </a:moveTo>
                    <a:cubicBezTo>
                      <a:pt x="64547" y="96679"/>
                      <a:pt x="60650" y="93821"/>
                      <a:pt x="52379" y="93821"/>
                    </a:cubicBezTo>
                    <a:lnTo>
                      <a:pt x="31466" y="93821"/>
                    </a:lnTo>
                    <a:cubicBezTo>
                      <a:pt x="22720" y="93821"/>
                      <a:pt x="17111" y="96488"/>
                      <a:pt x="17111" y="102394"/>
                    </a:cubicBezTo>
                    <a:cubicBezTo>
                      <a:pt x="17111" y="109728"/>
                      <a:pt x="26427" y="113348"/>
                      <a:pt x="41257" y="113348"/>
                    </a:cubicBezTo>
                    <a:cubicBezTo>
                      <a:pt x="57608" y="113348"/>
                      <a:pt x="64452" y="108680"/>
                      <a:pt x="64452" y="101822"/>
                    </a:cubicBezTo>
                    <a:close/>
                    <a:moveTo>
                      <a:pt x="20153" y="41624"/>
                    </a:moveTo>
                    <a:cubicBezTo>
                      <a:pt x="20153" y="50864"/>
                      <a:pt x="26902" y="56579"/>
                      <a:pt x="37740" y="56579"/>
                    </a:cubicBezTo>
                    <a:cubicBezTo>
                      <a:pt x="48577" y="56579"/>
                      <a:pt x="55326" y="50768"/>
                      <a:pt x="55326" y="41624"/>
                    </a:cubicBezTo>
                    <a:cubicBezTo>
                      <a:pt x="55326" y="32480"/>
                      <a:pt x="48672" y="26670"/>
                      <a:pt x="37740" y="26670"/>
                    </a:cubicBezTo>
                    <a:cubicBezTo>
                      <a:pt x="26808" y="26670"/>
                      <a:pt x="20153" y="32480"/>
                      <a:pt x="20153" y="41624"/>
                    </a:cubicBez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43" name="Freeform 42">
                <a:extLst>
                  <a:ext uri="{FF2B5EF4-FFF2-40B4-BE49-F238E27FC236}">
                    <a16:creationId xmlns:a16="http://schemas.microsoft.com/office/drawing/2014/main" id="{4DBE09BF-87A3-C5DC-AFB9-244CE800E1B5}"/>
                  </a:ext>
                </a:extLst>
              </p:cNvPr>
              <p:cNvSpPr/>
              <p:nvPr/>
            </p:nvSpPr>
            <p:spPr>
              <a:xfrm>
                <a:off x="7081699" y="3904773"/>
                <a:ext cx="124246" cy="78295"/>
              </a:xfrm>
              <a:custGeom>
                <a:avLst/>
                <a:gdLst>
                  <a:gd name="connsiteX0" fmla="*/ 0 w 124246"/>
                  <a:gd name="connsiteY0" fmla="*/ 1238 h 78295"/>
                  <a:gd name="connsiteX1" fmla="*/ 17491 w 124246"/>
                  <a:gd name="connsiteY1" fmla="*/ 1238 h 78295"/>
                  <a:gd name="connsiteX2" fmla="*/ 16826 w 124246"/>
                  <a:gd name="connsiteY2" fmla="*/ 21527 h 78295"/>
                  <a:gd name="connsiteX3" fmla="*/ 17016 w 124246"/>
                  <a:gd name="connsiteY3" fmla="*/ 21527 h 78295"/>
                  <a:gd name="connsiteX4" fmla="*/ 43824 w 124246"/>
                  <a:gd name="connsiteY4" fmla="*/ 0 h 78295"/>
                  <a:gd name="connsiteX5" fmla="*/ 70346 w 124246"/>
                  <a:gd name="connsiteY5" fmla="*/ 20288 h 78295"/>
                  <a:gd name="connsiteX6" fmla="*/ 70536 w 124246"/>
                  <a:gd name="connsiteY6" fmla="*/ 20288 h 78295"/>
                  <a:gd name="connsiteX7" fmla="*/ 97344 w 124246"/>
                  <a:gd name="connsiteY7" fmla="*/ 0 h 78295"/>
                  <a:gd name="connsiteX8" fmla="*/ 124246 w 124246"/>
                  <a:gd name="connsiteY8" fmla="*/ 29147 h 78295"/>
                  <a:gd name="connsiteX9" fmla="*/ 124246 w 124246"/>
                  <a:gd name="connsiteY9" fmla="*/ 78296 h 78295"/>
                  <a:gd name="connsiteX10" fmla="*/ 106755 w 124246"/>
                  <a:gd name="connsiteY10" fmla="*/ 78296 h 78295"/>
                  <a:gd name="connsiteX11" fmla="*/ 106755 w 124246"/>
                  <a:gd name="connsiteY11" fmla="*/ 33052 h 78295"/>
                  <a:gd name="connsiteX12" fmla="*/ 90879 w 124246"/>
                  <a:gd name="connsiteY12" fmla="*/ 14954 h 78295"/>
                  <a:gd name="connsiteX13" fmla="*/ 70916 w 124246"/>
                  <a:gd name="connsiteY13" fmla="*/ 40100 h 78295"/>
                  <a:gd name="connsiteX14" fmla="*/ 70916 w 124246"/>
                  <a:gd name="connsiteY14" fmla="*/ 78296 h 78295"/>
                  <a:gd name="connsiteX15" fmla="*/ 53425 w 124246"/>
                  <a:gd name="connsiteY15" fmla="*/ 78296 h 78295"/>
                  <a:gd name="connsiteX16" fmla="*/ 53425 w 124246"/>
                  <a:gd name="connsiteY16" fmla="*/ 32766 h 78295"/>
                  <a:gd name="connsiteX17" fmla="*/ 37264 w 124246"/>
                  <a:gd name="connsiteY17" fmla="*/ 14954 h 78295"/>
                  <a:gd name="connsiteX18" fmla="*/ 17491 w 124246"/>
                  <a:gd name="connsiteY18" fmla="*/ 40672 h 78295"/>
                  <a:gd name="connsiteX19" fmla="*/ 17491 w 124246"/>
                  <a:gd name="connsiteY19" fmla="*/ 78296 h 78295"/>
                  <a:gd name="connsiteX20" fmla="*/ 0 w 124246"/>
                  <a:gd name="connsiteY20" fmla="*/ 78296 h 78295"/>
                  <a:gd name="connsiteX21" fmla="*/ 0 w 124246"/>
                  <a:gd name="connsiteY21" fmla="*/ 1238 h 78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4246" h="78295">
                    <a:moveTo>
                      <a:pt x="0" y="1238"/>
                    </a:moveTo>
                    <a:lnTo>
                      <a:pt x="17491" y="1238"/>
                    </a:lnTo>
                    <a:lnTo>
                      <a:pt x="16826" y="21527"/>
                    </a:lnTo>
                    <a:lnTo>
                      <a:pt x="17016" y="21527"/>
                    </a:lnTo>
                    <a:cubicBezTo>
                      <a:pt x="20438" y="8287"/>
                      <a:pt x="29754" y="0"/>
                      <a:pt x="43824" y="0"/>
                    </a:cubicBezTo>
                    <a:cubicBezTo>
                      <a:pt x="58748" y="0"/>
                      <a:pt x="68445" y="7810"/>
                      <a:pt x="70346" y="20288"/>
                    </a:cubicBezTo>
                    <a:lnTo>
                      <a:pt x="70536" y="20288"/>
                    </a:lnTo>
                    <a:cubicBezTo>
                      <a:pt x="73388" y="7810"/>
                      <a:pt x="82704" y="0"/>
                      <a:pt x="97344" y="0"/>
                    </a:cubicBezTo>
                    <a:cubicBezTo>
                      <a:pt x="114455" y="0"/>
                      <a:pt x="124246" y="11049"/>
                      <a:pt x="124246" y="29147"/>
                    </a:cubicBezTo>
                    <a:lnTo>
                      <a:pt x="124246" y="78296"/>
                    </a:lnTo>
                    <a:lnTo>
                      <a:pt x="106755" y="78296"/>
                    </a:lnTo>
                    <a:lnTo>
                      <a:pt x="106755" y="33052"/>
                    </a:lnTo>
                    <a:cubicBezTo>
                      <a:pt x="106755" y="21812"/>
                      <a:pt x="101336" y="14954"/>
                      <a:pt x="90879" y="14954"/>
                    </a:cubicBezTo>
                    <a:cubicBezTo>
                      <a:pt x="78711" y="14954"/>
                      <a:pt x="70916" y="24003"/>
                      <a:pt x="70916" y="40100"/>
                    </a:cubicBezTo>
                    <a:lnTo>
                      <a:pt x="70916" y="78296"/>
                    </a:lnTo>
                    <a:lnTo>
                      <a:pt x="53425" y="78296"/>
                    </a:lnTo>
                    <a:lnTo>
                      <a:pt x="53425" y="32766"/>
                    </a:lnTo>
                    <a:cubicBezTo>
                      <a:pt x="53425" y="21812"/>
                      <a:pt x="47626" y="14954"/>
                      <a:pt x="37264" y="14954"/>
                    </a:cubicBezTo>
                    <a:cubicBezTo>
                      <a:pt x="25381" y="14954"/>
                      <a:pt x="17491" y="24194"/>
                      <a:pt x="17491" y="40672"/>
                    </a:cubicBezTo>
                    <a:lnTo>
                      <a:pt x="17491" y="78296"/>
                    </a:lnTo>
                    <a:lnTo>
                      <a:pt x="0" y="78296"/>
                    </a:lnTo>
                    <a:lnTo>
                      <a:pt x="0" y="1238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44" name="Freeform 43">
                <a:extLst>
                  <a:ext uri="{FF2B5EF4-FFF2-40B4-BE49-F238E27FC236}">
                    <a16:creationId xmlns:a16="http://schemas.microsoft.com/office/drawing/2014/main" id="{010C0541-F54D-AE4C-B14A-3D05FFE9E056}"/>
                  </a:ext>
                </a:extLst>
              </p:cNvPr>
              <p:cNvSpPr/>
              <p:nvPr/>
            </p:nvSpPr>
            <p:spPr>
              <a:xfrm>
                <a:off x="7220394" y="3904773"/>
                <a:ext cx="74813" cy="79533"/>
              </a:xfrm>
              <a:custGeom>
                <a:avLst/>
                <a:gdLst>
                  <a:gd name="connsiteX0" fmla="*/ 0 w 74813"/>
                  <a:gd name="connsiteY0" fmla="*/ 56198 h 79533"/>
                  <a:gd name="connsiteX1" fmla="*/ 28804 w 74813"/>
                  <a:gd name="connsiteY1" fmla="*/ 35243 h 79533"/>
                  <a:gd name="connsiteX2" fmla="*/ 57322 w 74813"/>
                  <a:gd name="connsiteY2" fmla="*/ 35243 h 79533"/>
                  <a:gd name="connsiteX3" fmla="*/ 57322 w 74813"/>
                  <a:gd name="connsiteY3" fmla="*/ 29813 h 79533"/>
                  <a:gd name="connsiteX4" fmla="*/ 37074 w 74813"/>
                  <a:gd name="connsiteY4" fmla="*/ 13145 h 79533"/>
                  <a:gd name="connsiteX5" fmla="*/ 18537 w 74813"/>
                  <a:gd name="connsiteY5" fmla="*/ 26289 h 79533"/>
                  <a:gd name="connsiteX6" fmla="*/ 18727 w 74813"/>
                  <a:gd name="connsiteY6" fmla="*/ 29242 h 79533"/>
                  <a:gd name="connsiteX7" fmla="*/ 2662 w 74813"/>
                  <a:gd name="connsiteY7" fmla="*/ 29242 h 79533"/>
                  <a:gd name="connsiteX8" fmla="*/ 2377 w 74813"/>
                  <a:gd name="connsiteY8" fmla="*/ 24670 h 79533"/>
                  <a:gd name="connsiteX9" fmla="*/ 37740 w 74813"/>
                  <a:gd name="connsiteY9" fmla="*/ 0 h 79533"/>
                  <a:gd name="connsiteX10" fmla="*/ 74814 w 74813"/>
                  <a:gd name="connsiteY10" fmla="*/ 31337 h 79533"/>
                  <a:gd name="connsiteX11" fmla="*/ 74814 w 74813"/>
                  <a:gd name="connsiteY11" fmla="*/ 78296 h 79533"/>
                  <a:gd name="connsiteX12" fmla="*/ 57322 w 74813"/>
                  <a:gd name="connsiteY12" fmla="*/ 78296 h 79533"/>
                  <a:gd name="connsiteX13" fmla="*/ 58083 w 74813"/>
                  <a:gd name="connsiteY13" fmla="*/ 61246 h 79533"/>
                  <a:gd name="connsiteX14" fmla="*/ 57893 w 74813"/>
                  <a:gd name="connsiteY14" fmla="*/ 61246 h 79533"/>
                  <a:gd name="connsiteX15" fmla="*/ 29279 w 74813"/>
                  <a:gd name="connsiteY15" fmla="*/ 79534 h 79533"/>
                  <a:gd name="connsiteX16" fmla="*/ 0 w 74813"/>
                  <a:gd name="connsiteY16" fmla="*/ 56102 h 79533"/>
                  <a:gd name="connsiteX17" fmla="*/ 57322 w 74813"/>
                  <a:gd name="connsiteY17" fmla="*/ 47339 h 79533"/>
                  <a:gd name="connsiteX18" fmla="*/ 57322 w 74813"/>
                  <a:gd name="connsiteY18" fmla="*/ 45910 h 79533"/>
                  <a:gd name="connsiteX19" fmla="*/ 30420 w 74813"/>
                  <a:gd name="connsiteY19" fmla="*/ 45910 h 79533"/>
                  <a:gd name="connsiteX20" fmla="*/ 16066 w 74813"/>
                  <a:gd name="connsiteY20" fmla="*/ 55435 h 79533"/>
                  <a:gd name="connsiteX21" fmla="*/ 32891 w 74813"/>
                  <a:gd name="connsiteY21" fmla="*/ 66485 h 79533"/>
                  <a:gd name="connsiteX22" fmla="*/ 57322 w 74813"/>
                  <a:gd name="connsiteY22" fmla="*/ 47244 h 79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74813" h="79533">
                    <a:moveTo>
                      <a:pt x="0" y="56198"/>
                    </a:moveTo>
                    <a:cubicBezTo>
                      <a:pt x="0" y="44482"/>
                      <a:pt x="8270" y="35243"/>
                      <a:pt x="28804" y="35243"/>
                    </a:cubicBezTo>
                    <a:lnTo>
                      <a:pt x="57322" y="35243"/>
                    </a:lnTo>
                    <a:lnTo>
                      <a:pt x="57322" y="29813"/>
                    </a:lnTo>
                    <a:cubicBezTo>
                      <a:pt x="57322" y="18288"/>
                      <a:pt x="50668" y="13145"/>
                      <a:pt x="37074" y="13145"/>
                    </a:cubicBezTo>
                    <a:cubicBezTo>
                      <a:pt x="25287" y="13145"/>
                      <a:pt x="18537" y="17717"/>
                      <a:pt x="18537" y="26289"/>
                    </a:cubicBezTo>
                    <a:cubicBezTo>
                      <a:pt x="18537" y="26765"/>
                      <a:pt x="18537" y="28004"/>
                      <a:pt x="18727" y="29242"/>
                    </a:cubicBezTo>
                    <a:lnTo>
                      <a:pt x="2662" y="29242"/>
                    </a:lnTo>
                    <a:cubicBezTo>
                      <a:pt x="2472" y="28099"/>
                      <a:pt x="2377" y="26099"/>
                      <a:pt x="2377" y="24670"/>
                    </a:cubicBezTo>
                    <a:cubicBezTo>
                      <a:pt x="2377" y="9239"/>
                      <a:pt x="15780" y="0"/>
                      <a:pt x="37740" y="0"/>
                    </a:cubicBezTo>
                    <a:cubicBezTo>
                      <a:pt x="61125" y="0"/>
                      <a:pt x="74814" y="11049"/>
                      <a:pt x="74814" y="31337"/>
                    </a:cubicBezTo>
                    <a:lnTo>
                      <a:pt x="74814" y="78296"/>
                    </a:lnTo>
                    <a:lnTo>
                      <a:pt x="57322" y="78296"/>
                    </a:lnTo>
                    <a:cubicBezTo>
                      <a:pt x="57608" y="74581"/>
                      <a:pt x="58083" y="67532"/>
                      <a:pt x="58083" y="61246"/>
                    </a:cubicBezTo>
                    <a:lnTo>
                      <a:pt x="57893" y="61246"/>
                    </a:lnTo>
                    <a:cubicBezTo>
                      <a:pt x="55421" y="72676"/>
                      <a:pt x="46200" y="79534"/>
                      <a:pt x="29279" y="79534"/>
                    </a:cubicBezTo>
                    <a:cubicBezTo>
                      <a:pt x="12358" y="79534"/>
                      <a:pt x="0" y="71152"/>
                      <a:pt x="0" y="56102"/>
                    </a:cubicBezTo>
                    <a:close/>
                    <a:moveTo>
                      <a:pt x="57322" y="47339"/>
                    </a:moveTo>
                    <a:lnTo>
                      <a:pt x="57322" y="45910"/>
                    </a:lnTo>
                    <a:lnTo>
                      <a:pt x="30420" y="45910"/>
                    </a:lnTo>
                    <a:cubicBezTo>
                      <a:pt x="20438" y="45910"/>
                      <a:pt x="16066" y="49340"/>
                      <a:pt x="16066" y="55435"/>
                    </a:cubicBezTo>
                    <a:cubicBezTo>
                      <a:pt x="16066" y="62484"/>
                      <a:pt x="22340" y="66485"/>
                      <a:pt x="32891" y="66485"/>
                    </a:cubicBezTo>
                    <a:cubicBezTo>
                      <a:pt x="48006" y="66485"/>
                      <a:pt x="57322" y="59150"/>
                      <a:pt x="57322" y="47244"/>
                    </a:cubicBez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45" name="Freeform 44">
                <a:extLst>
                  <a:ext uri="{FF2B5EF4-FFF2-40B4-BE49-F238E27FC236}">
                    <a16:creationId xmlns:a16="http://schemas.microsoft.com/office/drawing/2014/main" id="{0E76778D-4F77-CD33-9E6B-C82EF5B03585}"/>
                  </a:ext>
                </a:extLst>
              </p:cNvPr>
              <p:cNvSpPr/>
              <p:nvPr/>
            </p:nvSpPr>
            <p:spPr>
              <a:xfrm>
                <a:off x="7311844" y="3904773"/>
                <a:ext cx="70251" cy="78295"/>
              </a:xfrm>
              <a:custGeom>
                <a:avLst/>
                <a:gdLst>
                  <a:gd name="connsiteX0" fmla="*/ 0 w 70251"/>
                  <a:gd name="connsiteY0" fmla="*/ 1238 h 78295"/>
                  <a:gd name="connsiteX1" fmla="*/ 17491 w 70251"/>
                  <a:gd name="connsiteY1" fmla="*/ 1238 h 78295"/>
                  <a:gd name="connsiteX2" fmla="*/ 16826 w 70251"/>
                  <a:gd name="connsiteY2" fmla="*/ 23432 h 78295"/>
                  <a:gd name="connsiteX3" fmla="*/ 17016 w 70251"/>
                  <a:gd name="connsiteY3" fmla="*/ 23432 h 78295"/>
                  <a:gd name="connsiteX4" fmla="*/ 44394 w 70251"/>
                  <a:gd name="connsiteY4" fmla="*/ 0 h 78295"/>
                  <a:gd name="connsiteX5" fmla="*/ 70251 w 70251"/>
                  <a:gd name="connsiteY5" fmla="*/ 30099 h 78295"/>
                  <a:gd name="connsiteX6" fmla="*/ 69490 w 70251"/>
                  <a:gd name="connsiteY6" fmla="*/ 44482 h 78295"/>
                  <a:gd name="connsiteX7" fmla="*/ 53615 w 70251"/>
                  <a:gd name="connsiteY7" fmla="*/ 44482 h 78295"/>
                  <a:gd name="connsiteX8" fmla="*/ 54280 w 70251"/>
                  <a:gd name="connsiteY8" fmla="*/ 34004 h 78295"/>
                  <a:gd name="connsiteX9" fmla="*/ 39071 w 70251"/>
                  <a:gd name="connsiteY9" fmla="*/ 14954 h 78295"/>
                  <a:gd name="connsiteX10" fmla="*/ 17587 w 70251"/>
                  <a:gd name="connsiteY10" fmla="*/ 44577 h 78295"/>
                  <a:gd name="connsiteX11" fmla="*/ 17587 w 70251"/>
                  <a:gd name="connsiteY11" fmla="*/ 78296 h 78295"/>
                  <a:gd name="connsiteX12" fmla="*/ 95 w 70251"/>
                  <a:gd name="connsiteY12" fmla="*/ 78296 h 78295"/>
                  <a:gd name="connsiteX13" fmla="*/ 95 w 70251"/>
                  <a:gd name="connsiteY13" fmla="*/ 1238 h 78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0251" h="78295">
                    <a:moveTo>
                      <a:pt x="0" y="1238"/>
                    </a:moveTo>
                    <a:lnTo>
                      <a:pt x="17491" y="1238"/>
                    </a:lnTo>
                    <a:lnTo>
                      <a:pt x="16826" y="23432"/>
                    </a:lnTo>
                    <a:lnTo>
                      <a:pt x="17016" y="23432"/>
                    </a:lnTo>
                    <a:cubicBezTo>
                      <a:pt x="20629" y="9525"/>
                      <a:pt x="28519" y="0"/>
                      <a:pt x="44394" y="0"/>
                    </a:cubicBezTo>
                    <a:cubicBezTo>
                      <a:pt x="61030" y="0"/>
                      <a:pt x="70251" y="10954"/>
                      <a:pt x="70251" y="30099"/>
                    </a:cubicBezTo>
                    <a:cubicBezTo>
                      <a:pt x="70251" y="34957"/>
                      <a:pt x="69776" y="41148"/>
                      <a:pt x="69490" y="44482"/>
                    </a:cubicBezTo>
                    <a:lnTo>
                      <a:pt x="53615" y="44482"/>
                    </a:lnTo>
                    <a:cubicBezTo>
                      <a:pt x="53900" y="41529"/>
                      <a:pt x="54280" y="37624"/>
                      <a:pt x="54280" y="34004"/>
                    </a:cubicBezTo>
                    <a:cubicBezTo>
                      <a:pt x="54280" y="21050"/>
                      <a:pt x="49337" y="14954"/>
                      <a:pt x="39071" y="14954"/>
                    </a:cubicBezTo>
                    <a:cubicBezTo>
                      <a:pt x="25857" y="14954"/>
                      <a:pt x="17587" y="26194"/>
                      <a:pt x="17587" y="44577"/>
                    </a:cubicBezTo>
                    <a:lnTo>
                      <a:pt x="17587" y="78296"/>
                    </a:lnTo>
                    <a:lnTo>
                      <a:pt x="95" y="78296"/>
                    </a:lnTo>
                    <a:lnTo>
                      <a:pt x="95" y="1238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46" name="Freeform 45">
                <a:extLst>
                  <a:ext uri="{FF2B5EF4-FFF2-40B4-BE49-F238E27FC236}">
                    <a16:creationId xmlns:a16="http://schemas.microsoft.com/office/drawing/2014/main" id="{B132FE3C-6126-9368-DA5D-1BB1D286FEA4}"/>
                  </a:ext>
                </a:extLst>
              </p:cNvPr>
              <p:cNvSpPr/>
              <p:nvPr/>
            </p:nvSpPr>
            <p:spPr>
              <a:xfrm>
                <a:off x="7397495" y="3874865"/>
                <a:ext cx="83749" cy="108204"/>
              </a:xfrm>
              <a:custGeom>
                <a:avLst/>
                <a:gdLst>
                  <a:gd name="connsiteX0" fmla="*/ 0 w 83749"/>
                  <a:gd name="connsiteY0" fmla="*/ 95 h 108204"/>
                  <a:gd name="connsiteX1" fmla="*/ 17491 w 83749"/>
                  <a:gd name="connsiteY1" fmla="*/ 95 h 108204"/>
                  <a:gd name="connsiteX2" fmla="*/ 17491 w 83749"/>
                  <a:gd name="connsiteY2" fmla="*/ 71533 h 108204"/>
                  <a:gd name="connsiteX3" fmla="*/ 17681 w 83749"/>
                  <a:gd name="connsiteY3" fmla="*/ 71533 h 108204"/>
                  <a:gd name="connsiteX4" fmla="*/ 59129 w 83749"/>
                  <a:gd name="connsiteY4" fmla="*/ 31147 h 108204"/>
                  <a:gd name="connsiteX5" fmla="*/ 81753 w 83749"/>
                  <a:gd name="connsiteY5" fmla="*/ 31147 h 108204"/>
                  <a:gd name="connsiteX6" fmla="*/ 45725 w 83749"/>
                  <a:gd name="connsiteY6" fmla="*/ 64675 h 108204"/>
                  <a:gd name="connsiteX7" fmla="*/ 83750 w 83749"/>
                  <a:gd name="connsiteY7" fmla="*/ 108204 h 108204"/>
                  <a:gd name="connsiteX8" fmla="*/ 60079 w 83749"/>
                  <a:gd name="connsiteY8" fmla="*/ 108204 h 108204"/>
                  <a:gd name="connsiteX9" fmla="*/ 32987 w 83749"/>
                  <a:gd name="connsiteY9" fmla="*/ 75724 h 108204"/>
                  <a:gd name="connsiteX10" fmla="*/ 17587 w 83749"/>
                  <a:gd name="connsiteY10" fmla="*/ 89916 h 108204"/>
                  <a:gd name="connsiteX11" fmla="*/ 17587 w 83749"/>
                  <a:gd name="connsiteY11" fmla="*/ 108204 h 108204"/>
                  <a:gd name="connsiteX12" fmla="*/ 95 w 83749"/>
                  <a:gd name="connsiteY12" fmla="*/ 108204 h 108204"/>
                  <a:gd name="connsiteX13" fmla="*/ 95 w 83749"/>
                  <a:gd name="connsiteY13" fmla="*/ 0 h 108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83749" h="108204">
                    <a:moveTo>
                      <a:pt x="0" y="95"/>
                    </a:moveTo>
                    <a:lnTo>
                      <a:pt x="17491" y="95"/>
                    </a:lnTo>
                    <a:lnTo>
                      <a:pt x="17491" y="71533"/>
                    </a:lnTo>
                    <a:lnTo>
                      <a:pt x="17681" y="71533"/>
                    </a:lnTo>
                    <a:lnTo>
                      <a:pt x="59129" y="31147"/>
                    </a:lnTo>
                    <a:lnTo>
                      <a:pt x="81753" y="31147"/>
                    </a:lnTo>
                    <a:lnTo>
                      <a:pt x="45725" y="64675"/>
                    </a:lnTo>
                    <a:lnTo>
                      <a:pt x="83750" y="108204"/>
                    </a:lnTo>
                    <a:lnTo>
                      <a:pt x="60079" y="108204"/>
                    </a:lnTo>
                    <a:lnTo>
                      <a:pt x="32987" y="75724"/>
                    </a:lnTo>
                    <a:lnTo>
                      <a:pt x="17587" y="89916"/>
                    </a:lnTo>
                    <a:lnTo>
                      <a:pt x="17587" y="108204"/>
                    </a:lnTo>
                    <a:lnTo>
                      <a:pt x="95" y="108204"/>
                    </a:lnTo>
                    <a:lnTo>
                      <a:pt x="95" y="0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47" name="Freeform 46">
                <a:extLst>
                  <a:ext uri="{FF2B5EF4-FFF2-40B4-BE49-F238E27FC236}">
                    <a16:creationId xmlns:a16="http://schemas.microsoft.com/office/drawing/2014/main" id="{2C0B5C92-16E9-B775-81DA-091B46B8917E}"/>
                  </a:ext>
                </a:extLst>
              </p:cNvPr>
              <p:cNvSpPr/>
              <p:nvPr/>
            </p:nvSpPr>
            <p:spPr>
              <a:xfrm>
                <a:off x="7484762" y="3904868"/>
                <a:ext cx="75194" cy="79533"/>
              </a:xfrm>
              <a:custGeom>
                <a:avLst/>
                <a:gdLst>
                  <a:gd name="connsiteX0" fmla="*/ 75099 w 75194"/>
                  <a:gd name="connsiteY0" fmla="*/ 43148 h 79533"/>
                  <a:gd name="connsiteX1" fmla="*/ 17491 w 75194"/>
                  <a:gd name="connsiteY1" fmla="*/ 43148 h 79533"/>
                  <a:gd name="connsiteX2" fmla="*/ 39736 w 75194"/>
                  <a:gd name="connsiteY2" fmla="*/ 65913 h 79533"/>
                  <a:gd name="connsiteX3" fmla="*/ 59414 w 75194"/>
                  <a:gd name="connsiteY3" fmla="*/ 51911 h 79533"/>
                  <a:gd name="connsiteX4" fmla="*/ 75194 w 75194"/>
                  <a:gd name="connsiteY4" fmla="*/ 51911 h 79533"/>
                  <a:gd name="connsiteX5" fmla="*/ 39546 w 75194"/>
                  <a:gd name="connsiteY5" fmla="*/ 79534 h 79533"/>
                  <a:gd name="connsiteX6" fmla="*/ 0 w 75194"/>
                  <a:gd name="connsiteY6" fmla="*/ 40386 h 79533"/>
                  <a:gd name="connsiteX7" fmla="*/ 39546 w 75194"/>
                  <a:gd name="connsiteY7" fmla="*/ 0 h 79533"/>
                  <a:gd name="connsiteX8" fmla="*/ 75194 w 75194"/>
                  <a:gd name="connsiteY8" fmla="*/ 36957 h 79533"/>
                  <a:gd name="connsiteX9" fmla="*/ 75194 w 75194"/>
                  <a:gd name="connsiteY9" fmla="*/ 43244 h 79533"/>
                  <a:gd name="connsiteX10" fmla="*/ 59319 w 75194"/>
                  <a:gd name="connsiteY10" fmla="*/ 31433 h 79533"/>
                  <a:gd name="connsiteX11" fmla="*/ 39546 w 75194"/>
                  <a:gd name="connsiteY11" fmla="*/ 13525 h 79533"/>
                  <a:gd name="connsiteX12" fmla="*/ 17872 w 75194"/>
                  <a:gd name="connsiteY12" fmla="*/ 32575 h 79533"/>
                  <a:gd name="connsiteX13" fmla="*/ 59319 w 75194"/>
                  <a:gd name="connsiteY13" fmla="*/ 32575 h 79533"/>
                  <a:gd name="connsiteX14" fmla="*/ 59319 w 75194"/>
                  <a:gd name="connsiteY14" fmla="*/ 31528 h 79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5194" h="79533">
                    <a:moveTo>
                      <a:pt x="75099" y="43148"/>
                    </a:moveTo>
                    <a:lnTo>
                      <a:pt x="17491" y="43148"/>
                    </a:lnTo>
                    <a:cubicBezTo>
                      <a:pt x="18442" y="58007"/>
                      <a:pt x="26712" y="65913"/>
                      <a:pt x="39736" y="65913"/>
                    </a:cubicBezTo>
                    <a:cubicBezTo>
                      <a:pt x="50953" y="65913"/>
                      <a:pt x="58558" y="60960"/>
                      <a:pt x="59414" y="51911"/>
                    </a:cubicBezTo>
                    <a:lnTo>
                      <a:pt x="75194" y="51911"/>
                    </a:lnTo>
                    <a:cubicBezTo>
                      <a:pt x="74529" y="69056"/>
                      <a:pt x="60555" y="79534"/>
                      <a:pt x="39546" y="79534"/>
                    </a:cubicBezTo>
                    <a:cubicBezTo>
                      <a:pt x="15210" y="79534"/>
                      <a:pt x="0" y="64579"/>
                      <a:pt x="0" y="40386"/>
                    </a:cubicBezTo>
                    <a:cubicBezTo>
                      <a:pt x="0" y="16193"/>
                      <a:pt x="15305" y="0"/>
                      <a:pt x="39546" y="0"/>
                    </a:cubicBezTo>
                    <a:cubicBezTo>
                      <a:pt x="61315" y="0"/>
                      <a:pt x="75194" y="12954"/>
                      <a:pt x="75194" y="36957"/>
                    </a:cubicBezTo>
                    <a:lnTo>
                      <a:pt x="75194" y="43244"/>
                    </a:lnTo>
                    <a:close/>
                    <a:moveTo>
                      <a:pt x="59319" y="31433"/>
                    </a:moveTo>
                    <a:cubicBezTo>
                      <a:pt x="59319" y="19907"/>
                      <a:pt x="52189" y="13525"/>
                      <a:pt x="39546" y="13525"/>
                    </a:cubicBezTo>
                    <a:cubicBezTo>
                      <a:pt x="26903" y="13525"/>
                      <a:pt x="19963" y="19812"/>
                      <a:pt x="17872" y="32575"/>
                    </a:cubicBezTo>
                    <a:lnTo>
                      <a:pt x="59319" y="32575"/>
                    </a:lnTo>
                    <a:lnTo>
                      <a:pt x="59319" y="31528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48" name="Freeform 47">
                <a:extLst>
                  <a:ext uri="{FF2B5EF4-FFF2-40B4-BE49-F238E27FC236}">
                    <a16:creationId xmlns:a16="http://schemas.microsoft.com/office/drawing/2014/main" id="{836A7DFA-3099-DBCD-9C0F-8BCFF969D273}"/>
                  </a:ext>
                </a:extLst>
              </p:cNvPr>
              <p:cNvSpPr/>
              <p:nvPr/>
            </p:nvSpPr>
            <p:spPr>
              <a:xfrm>
                <a:off x="7567751" y="3888581"/>
                <a:ext cx="56086" cy="95535"/>
              </a:xfrm>
              <a:custGeom>
                <a:avLst/>
                <a:gdLst>
                  <a:gd name="connsiteX0" fmla="*/ 12168 w 56086"/>
                  <a:gd name="connsiteY0" fmla="*/ 67056 h 95535"/>
                  <a:gd name="connsiteX1" fmla="*/ 12168 w 56086"/>
                  <a:gd name="connsiteY1" fmla="*/ 31623 h 95535"/>
                  <a:gd name="connsiteX2" fmla="*/ 0 w 56086"/>
                  <a:gd name="connsiteY2" fmla="*/ 31623 h 95535"/>
                  <a:gd name="connsiteX3" fmla="*/ 0 w 56086"/>
                  <a:gd name="connsiteY3" fmla="*/ 17431 h 95535"/>
                  <a:gd name="connsiteX4" fmla="*/ 9791 w 56086"/>
                  <a:gd name="connsiteY4" fmla="*/ 17431 h 95535"/>
                  <a:gd name="connsiteX5" fmla="*/ 14354 w 56086"/>
                  <a:gd name="connsiteY5" fmla="*/ 11525 h 95535"/>
                  <a:gd name="connsiteX6" fmla="*/ 15115 w 56086"/>
                  <a:gd name="connsiteY6" fmla="*/ 0 h 95535"/>
                  <a:gd name="connsiteX7" fmla="*/ 29564 w 56086"/>
                  <a:gd name="connsiteY7" fmla="*/ 0 h 95535"/>
                  <a:gd name="connsiteX8" fmla="*/ 29564 w 56086"/>
                  <a:gd name="connsiteY8" fmla="*/ 17526 h 95535"/>
                  <a:gd name="connsiteX9" fmla="*/ 56087 w 56086"/>
                  <a:gd name="connsiteY9" fmla="*/ 17526 h 95535"/>
                  <a:gd name="connsiteX10" fmla="*/ 56087 w 56086"/>
                  <a:gd name="connsiteY10" fmla="*/ 31718 h 95535"/>
                  <a:gd name="connsiteX11" fmla="*/ 29564 w 56086"/>
                  <a:gd name="connsiteY11" fmla="*/ 31718 h 95535"/>
                  <a:gd name="connsiteX12" fmla="*/ 29564 w 56086"/>
                  <a:gd name="connsiteY12" fmla="*/ 66199 h 95535"/>
                  <a:gd name="connsiteX13" fmla="*/ 43919 w 56086"/>
                  <a:gd name="connsiteY13" fmla="*/ 81153 h 95535"/>
                  <a:gd name="connsiteX14" fmla="*/ 55421 w 56086"/>
                  <a:gd name="connsiteY14" fmla="*/ 79724 h 95535"/>
                  <a:gd name="connsiteX15" fmla="*/ 55421 w 56086"/>
                  <a:gd name="connsiteY15" fmla="*/ 93631 h 95535"/>
                  <a:gd name="connsiteX16" fmla="*/ 41447 w 56086"/>
                  <a:gd name="connsiteY16" fmla="*/ 95536 h 95535"/>
                  <a:gd name="connsiteX17" fmla="*/ 12168 w 56086"/>
                  <a:gd name="connsiteY17" fmla="*/ 67151 h 95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6086" h="95535">
                    <a:moveTo>
                      <a:pt x="12168" y="67056"/>
                    </a:moveTo>
                    <a:lnTo>
                      <a:pt x="12168" y="31623"/>
                    </a:lnTo>
                    <a:lnTo>
                      <a:pt x="0" y="31623"/>
                    </a:lnTo>
                    <a:lnTo>
                      <a:pt x="0" y="17431"/>
                    </a:lnTo>
                    <a:lnTo>
                      <a:pt x="9791" y="17431"/>
                    </a:lnTo>
                    <a:cubicBezTo>
                      <a:pt x="12738" y="17431"/>
                      <a:pt x="13879" y="15907"/>
                      <a:pt x="14354" y="11525"/>
                    </a:cubicBezTo>
                    <a:lnTo>
                      <a:pt x="15115" y="0"/>
                    </a:lnTo>
                    <a:lnTo>
                      <a:pt x="29564" y="0"/>
                    </a:lnTo>
                    <a:lnTo>
                      <a:pt x="29564" y="17526"/>
                    </a:lnTo>
                    <a:lnTo>
                      <a:pt x="56087" y="17526"/>
                    </a:lnTo>
                    <a:lnTo>
                      <a:pt x="56087" y="31718"/>
                    </a:lnTo>
                    <a:lnTo>
                      <a:pt x="29564" y="31718"/>
                    </a:lnTo>
                    <a:lnTo>
                      <a:pt x="29564" y="66199"/>
                    </a:lnTo>
                    <a:cubicBezTo>
                      <a:pt x="29564" y="76200"/>
                      <a:pt x="33272" y="81153"/>
                      <a:pt x="43919" y="81153"/>
                    </a:cubicBezTo>
                    <a:cubicBezTo>
                      <a:pt x="48291" y="81153"/>
                      <a:pt x="53235" y="80391"/>
                      <a:pt x="55421" y="79724"/>
                    </a:cubicBezTo>
                    <a:lnTo>
                      <a:pt x="55421" y="93631"/>
                    </a:lnTo>
                    <a:cubicBezTo>
                      <a:pt x="53045" y="94393"/>
                      <a:pt x="47816" y="95536"/>
                      <a:pt x="41447" y="95536"/>
                    </a:cubicBezTo>
                    <a:cubicBezTo>
                      <a:pt x="20438" y="95536"/>
                      <a:pt x="12168" y="84106"/>
                      <a:pt x="12168" y="67151"/>
                    </a:cubicBez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49" name="Freeform 48">
                <a:extLst>
                  <a:ext uri="{FF2B5EF4-FFF2-40B4-BE49-F238E27FC236}">
                    <a16:creationId xmlns:a16="http://schemas.microsoft.com/office/drawing/2014/main" id="{302979C7-3D04-579F-F501-7A5B02C926B9}"/>
                  </a:ext>
                </a:extLst>
              </p:cNvPr>
              <p:cNvSpPr/>
              <p:nvPr/>
            </p:nvSpPr>
            <p:spPr>
              <a:xfrm>
                <a:off x="7633344" y="3904678"/>
                <a:ext cx="73863" cy="79629"/>
              </a:xfrm>
              <a:custGeom>
                <a:avLst/>
                <a:gdLst>
                  <a:gd name="connsiteX0" fmla="*/ 0 w 73863"/>
                  <a:gd name="connsiteY0" fmla="*/ 52673 h 79629"/>
                  <a:gd name="connsiteX1" fmla="*/ 15780 w 73863"/>
                  <a:gd name="connsiteY1" fmla="*/ 52673 h 79629"/>
                  <a:gd name="connsiteX2" fmla="*/ 35838 w 73863"/>
                  <a:gd name="connsiteY2" fmla="*/ 67056 h 79629"/>
                  <a:gd name="connsiteX3" fmla="*/ 56277 w 73863"/>
                  <a:gd name="connsiteY3" fmla="*/ 55626 h 79629"/>
                  <a:gd name="connsiteX4" fmla="*/ 51143 w 73863"/>
                  <a:gd name="connsiteY4" fmla="*/ 48577 h 79629"/>
                  <a:gd name="connsiteX5" fmla="*/ 31561 w 73863"/>
                  <a:gd name="connsiteY5" fmla="*/ 45625 h 79629"/>
                  <a:gd name="connsiteX6" fmla="*/ 6749 w 73863"/>
                  <a:gd name="connsiteY6" fmla="*/ 39529 h 79629"/>
                  <a:gd name="connsiteX7" fmla="*/ 95 w 73863"/>
                  <a:gd name="connsiteY7" fmla="*/ 24860 h 79629"/>
                  <a:gd name="connsiteX8" fmla="*/ 35933 w 73863"/>
                  <a:gd name="connsiteY8" fmla="*/ 0 h 79629"/>
                  <a:gd name="connsiteX9" fmla="*/ 70536 w 73863"/>
                  <a:gd name="connsiteY9" fmla="*/ 27432 h 79629"/>
                  <a:gd name="connsiteX10" fmla="*/ 54756 w 73863"/>
                  <a:gd name="connsiteY10" fmla="*/ 27432 h 79629"/>
                  <a:gd name="connsiteX11" fmla="*/ 36409 w 73863"/>
                  <a:gd name="connsiteY11" fmla="*/ 12573 h 79629"/>
                  <a:gd name="connsiteX12" fmla="*/ 17396 w 73863"/>
                  <a:gd name="connsiteY12" fmla="*/ 23527 h 79629"/>
                  <a:gd name="connsiteX13" fmla="*/ 22720 w 73863"/>
                  <a:gd name="connsiteY13" fmla="*/ 31528 h 79629"/>
                  <a:gd name="connsiteX14" fmla="*/ 43158 w 73863"/>
                  <a:gd name="connsiteY14" fmla="*/ 34480 h 79629"/>
                  <a:gd name="connsiteX15" fmla="*/ 65783 w 73863"/>
                  <a:gd name="connsiteY15" fmla="*/ 39815 h 79629"/>
                  <a:gd name="connsiteX16" fmla="*/ 73863 w 73863"/>
                  <a:gd name="connsiteY16" fmla="*/ 54769 h 79629"/>
                  <a:gd name="connsiteX17" fmla="*/ 36123 w 73863"/>
                  <a:gd name="connsiteY17" fmla="*/ 79629 h 79629"/>
                  <a:gd name="connsiteX18" fmla="*/ 95 w 73863"/>
                  <a:gd name="connsiteY18" fmla="*/ 52673 h 79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73863" h="79629">
                    <a:moveTo>
                      <a:pt x="0" y="52673"/>
                    </a:moveTo>
                    <a:lnTo>
                      <a:pt x="15780" y="52673"/>
                    </a:lnTo>
                    <a:cubicBezTo>
                      <a:pt x="15780" y="61531"/>
                      <a:pt x="20914" y="67056"/>
                      <a:pt x="35838" y="67056"/>
                    </a:cubicBezTo>
                    <a:cubicBezTo>
                      <a:pt x="50003" y="67056"/>
                      <a:pt x="56277" y="62674"/>
                      <a:pt x="56277" y="55626"/>
                    </a:cubicBezTo>
                    <a:cubicBezTo>
                      <a:pt x="56277" y="52673"/>
                      <a:pt x="55136" y="50006"/>
                      <a:pt x="51143" y="48577"/>
                    </a:cubicBezTo>
                    <a:cubicBezTo>
                      <a:pt x="47436" y="47149"/>
                      <a:pt x="40116" y="46387"/>
                      <a:pt x="31561" y="45625"/>
                    </a:cubicBezTo>
                    <a:cubicBezTo>
                      <a:pt x="19583" y="44577"/>
                      <a:pt x="11502" y="42958"/>
                      <a:pt x="6749" y="39529"/>
                    </a:cubicBezTo>
                    <a:cubicBezTo>
                      <a:pt x="2567" y="36385"/>
                      <a:pt x="95" y="30766"/>
                      <a:pt x="95" y="24860"/>
                    </a:cubicBezTo>
                    <a:cubicBezTo>
                      <a:pt x="95" y="9430"/>
                      <a:pt x="15020" y="0"/>
                      <a:pt x="35933" y="0"/>
                    </a:cubicBezTo>
                    <a:cubicBezTo>
                      <a:pt x="59889" y="0"/>
                      <a:pt x="70536" y="10001"/>
                      <a:pt x="70536" y="27432"/>
                    </a:cubicBezTo>
                    <a:lnTo>
                      <a:pt x="54756" y="27432"/>
                    </a:lnTo>
                    <a:cubicBezTo>
                      <a:pt x="54566" y="17431"/>
                      <a:pt x="49147" y="12573"/>
                      <a:pt x="36409" y="12573"/>
                    </a:cubicBezTo>
                    <a:cubicBezTo>
                      <a:pt x="23670" y="12573"/>
                      <a:pt x="17396" y="16954"/>
                      <a:pt x="17396" y="23527"/>
                    </a:cubicBezTo>
                    <a:cubicBezTo>
                      <a:pt x="17396" y="26765"/>
                      <a:pt x="18157" y="29908"/>
                      <a:pt x="22720" y="31528"/>
                    </a:cubicBezTo>
                    <a:cubicBezTo>
                      <a:pt x="26427" y="32766"/>
                      <a:pt x="33747" y="33528"/>
                      <a:pt x="43158" y="34480"/>
                    </a:cubicBezTo>
                    <a:cubicBezTo>
                      <a:pt x="54090" y="35528"/>
                      <a:pt x="60269" y="36671"/>
                      <a:pt x="65783" y="39815"/>
                    </a:cubicBezTo>
                    <a:cubicBezTo>
                      <a:pt x="70916" y="42577"/>
                      <a:pt x="73863" y="48577"/>
                      <a:pt x="73863" y="54769"/>
                    </a:cubicBezTo>
                    <a:cubicBezTo>
                      <a:pt x="73863" y="70390"/>
                      <a:pt x="60745" y="79629"/>
                      <a:pt x="36123" y="79629"/>
                    </a:cubicBezTo>
                    <a:cubicBezTo>
                      <a:pt x="9601" y="79629"/>
                      <a:pt x="95" y="67723"/>
                      <a:pt x="95" y="52673"/>
                    </a:cubicBez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</p:grpSp>
      </p:grpSp>
      <p:sp>
        <p:nvSpPr>
          <p:cNvPr id="8" name="Graphic 8">
            <a:extLst>
              <a:ext uri="{FF2B5EF4-FFF2-40B4-BE49-F238E27FC236}">
                <a16:creationId xmlns:a16="http://schemas.microsoft.com/office/drawing/2014/main" id="{A36D3B19-7533-C1F6-01CA-25CC48B61A1C}"/>
              </a:ext>
            </a:extLst>
          </p:cNvPr>
          <p:cNvSpPr>
            <a:spLocks noChangeAspect="1"/>
          </p:cNvSpPr>
          <p:nvPr userDrawn="1"/>
        </p:nvSpPr>
        <p:spPr>
          <a:xfrm>
            <a:off x="11369709" y="0"/>
            <a:ext cx="4797892" cy="11309350"/>
          </a:xfrm>
          <a:custGeom>
            <a:avLst/>
            <a:gdLst>
              <a:gd name="connsiteX0" fmla="*/ 2509447 w 2909650"/>
              <a:gd name="connsiteY0" fmla="*/ 180594 h 6858000"/>
              <a:gd name="connsiteX1" fmla="*/ 2909651 w 2909650"/>
              <a:gd name="connsiteY1" fmla="*/ 0 h 6858000"/>
              <a:gd name="connsiteX2" fmla="*/ 2223334 w 2909650"/>
              <a:gd name="connsiteY2" fmla="*/ 0 h 6858000"/>
              <a:gd name="connsiteX3" fmla="*/ 1937474 w 2909650"/>
              <a:gd name="connsiteY3" fmla="*/ 154750 h 6858000"/>
              <a:gd name="connsiteX4" fmla="*/ 41345 w 2909650"/>
              <a:gd name="connsiteY4" fmla="*/ 3013901 h 6858000"/>
              <a:gd name="connsiteX5" fmla="*/ 1692288 w 2909650"/>
              <a:gd name="connsiteY5" fmla="*/ 6858000 h 6858000"/>
              <a:gd name="connsiteX6" fmla="*/ 2048645 w 2909650"/>
              <a:gd name="connsiteY6" fmla="*/ 6858000 h 6858000"/>
              <a:gd name="connsiteX7" fmla="*/ 722205 w 2909650"/>
              <a:gd name="connsiteY7" fmla="*/ 5293106 h 6858000"/>
              <a:gd name="connsiteX8" fmla="*/ 639779 w 2909650"/>
              <a:gd name="connsiteY8" fmla="*/ 2390775 h 6858000"/>
              <a:gd name="connsiteX9" fmla="*/ 2509447 w 2909650"/>
              <a:gd name="connsiteY9" fmla="*/ 18059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09650" h="6858000">
                <a:moveTo>
                  <a:pt x="2509447" y="180594"/>
                </a:moveTo>
                <a:cubicBezTo>
                  <a:pt x="2640226" y="111760"/>
                  <a:pt x="2773796" y="51562"/>
                  <a:pt x="2909651" y="0"/>
                </a:cubicBezTo>
                <a:lnTo>
                  <a:pt x="2223334" y="0"/>
                </a:lnTo>
                <a:cubicBezTo>
                  <a:pt x="2126567" y="47498"/>
                  <a:pt x="2031195" y="99124"/>
                  <a:pt x="1937474" y="154750"/>
                </a:cubicBezTo>
                <a:cubicBezTo>
                  <a:pt x="904635" y="768668"/>
                  <a:pt x="213495" y="1810830"/>
                  <a:pt x="41345" y="3013901"/>
                </a:cubicBezTo>
                <a:cubicBezTo>
                  <a:pt x="-179475" y="4511612"/>
                  <a:pt x="500497" y="6005132"/>
                  <a:pt x="1692288" y="6858000"/>
                </a:cubicBezTo>
                <a:lnTo>
                  <a:pt x="2048645" y="6858000"/>
                </a:lnTo>
                <a:cubicBezTo>
                  <a:pt x="1465694" y="6480620"/>
                  <a:pt x="1007050" y="5943664"/>
                  <a:pt x="722205" y="5293106"/>
                </a:cubicBezTo>
                <a:cubicBezTo>
                  <a:pt x="328220" y="4393375"/>
                  <a:pt x="298968" y="3362643"/>
                  <a:pt x="639779" y="2390775"/>
                </a:cubicBezTo>
                <a:cubicBezTo>
                  <a:pt x="979764" y="1420940"/>
                  <a:pt x="1643175" y="635699"/>
                  <a:pt x="2509447" y="180594"/>
                </a:cubicBezTo>
                <a:close/>
              </a:path>
            </a:pathLst>
          </a:custGeom>
          <a:solidFill>
            <a:srgbClr val="47D985"/>
          </a:solidFill>
          <a:ln w="632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2968"/>
          </a:p>
        </p:txBody>
      </p:sp>
    </p:spTree>
    <p:extLst>
      <p:ext uri="{BB962C8B-B14F-4D97-AF65-F5344CB8AC3E}">
        <p14:creationId xmlns:p14="http://schemas.microsoft.com/office/powerpoint/2010/main" val="2823824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4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4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75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2" presetClass="entr" presetSubtype="1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build="p">
        <p:tmplLst>
          <p:tmpl lvl="1">
            <p:tnLst>
              <p:par>
                <p:cTn presetID="55" presetClass="entr" presetSubtype="0" fill="hold" nodeType="withEffect">
                  <p:stCondLst>
                    <p:cond delay="0"/>
                  </p:stCondLst>
                  <p:iterate type="lt">
                    <p:tmPct val="10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400" fill="hold"/>
                        <p:tgtEl>
                          <p:spTgt spid="15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#ppt_w*0.7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400" fill="hold"/>
                        <p:tgtEl>
                          <p:spTgt spid="15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400"/>
                        <p:tgtEl>
                          <p:spTgt spid="1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25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75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7" grpId="0"/>
      <p:bldP spid="8" grpId="0" animBg="1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(without imag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8">
            <a:extLst>
              <a:ext uri="{FF2B5EF4-FFF2-40B4-BE49-F238E27FC236}">
                <a16:creationId xmlns:a16="http://schemas.microsoft.com/office/drawing/2014/main" id="{ACE6FAF9-7846-146C-6D08-D1DF65DF7E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20104100" cy="11309350"/>
          </a:xfrm>
          <a:prstGeom prst="rect">
            <a:avLst/>
          </a:prstGeom>
        </p:spPr>
      </p:pic>
      <p:sp>
        <p:nvSpPr>
          <p:cNvPr id="15" name="Text Placeholder 11">
            <a:extLst>
              <a:ext uri="{FF2B5EF4-FFF2-40B4-BE49-F238E27FC236}">
                <a16:creationId xmlns:a16="http://schemas.microsoft.com/office/drawing/2014/main" id="{140D1306-286B-D86B-C6B5-BC2A0E54B29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6355" y="1924161"/>
            <a:ext cx="17931391" cy="3081513"/>
          </a:xfrm>
        </p:spPr>
        <p:txBody>
          <a:bodyPr anchor="b">
            <a:norm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None/>
              <a:defRPr sz="10719" b="1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/>
              <a:t>Presentation title goes in this space here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74A8F2DB-B148-88A1-2854-99FF5E6E5E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86356" y="5382515"/>
            <a:ext cx="8431680" cy="1033768"/>
          </a:xfrm>
        </p:spPr>
        <p:txBody>
          <a:bodyPr>
            <a:normAutofit/>
          </a:bodyPr>
          <a:lstStyle>
            <a:lvl1pPr marL="0" indent="0">
              <a:buNone/>
              <a:defRPr sz="4617" b="0">
                <a:solidFill>
                  <a:srgbClr val="47D985"/>
                </a:solidFill>
              </a:defRPr>
            </a:lvl1pPr>
          </a:lstStyle>
          <a:p>
            <a:pPr lvl="0"/>
            <a:r>
              <a:rPr lang="en-GB"/>
              <a:t>25.08.2022</a:t>
            </a:r>
          </a:p>
        </p:txBody>
      </p:sp>
      <p:grpSp>
        <p:nvGrpSpPr>
          <p:cNvPr id="7" name="Graphic 77">
            <a:extLst>
              <a:ext uri="{FF2B5EF4-FFF2-40B4-BE49-F238E27FC236}">
                <a16:creationId xmlns:a16="http://schemas.microsoft.com/office/drawing/2014/main" id="{C014E542-CDFB-7E1A-E7C4-08753D29D426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086354" y="8054103"/>
            <a:ext cx="4203553" cy="1538843"/>
            <a:chOff x="4489439" y="2838428"/>
            <a:chExt cx="3217768" cy="1177883"/>
          </a:xfrm>
          <a:solidFill>
            <a:schemeClr val="bg1"/>
          </a:solidFill>
        </p:grpSpPr>
        <p:sp>
          <p:nvSpPr>
            <p:cNvPr id="28" name="Freeform 5">
              <a:extLst>
                <a:ext uri="{FF2B5EF4-FFF2-40B4-BE49-F238E27FC236}">
                  <a16:creationId xmlns:a16="http://schemas.microsoft.com/office/drawing/2014/main" id="{FD128CD8-58A7-1CDD-7EA4-3325A1AAC7E1}"/>
                </a:ext>
              </a:extLst>
            </p:cNvPr>
            <p:cNvSpPr/>
            <p:nvPr/>
          </p:nvSpPr>
          <p:spPr>
            <a:xfrm>
              <a:off x="4489439" y="2838428"/>
              <a:ext cx="3217388" cy="1177883"/>
            </a:xfrm>
            <a:custGeom>
              <a:avLst/>
              <a:gdLst>
                <a:gd name="connsiteX0" fmla="*/ 1527089 w 3217388"/>
                <a:gd name="connsiteY0" fmla="*/ 295107 h 1177883"/>
                <a:gd name="connsiteX1" fmla="*/ 1705520 w 3217388"/>
                <a:gd name="connsiteY1" fmla="*/ 295107 h 1177883"/>
                <a:gd name="connsiteX2" fmla="*/ 1705520 w 3217388"/>
                <a:gd name="connsiteY2" fmla="*/ 947283 h 1177883"/>
                <a:gd name="connsiteX3" fmla="*/ 1527089 w 3217388"/>
                <a:gd name="connsiteY3" fmla="*/ 947283 h 1177883"/>
                <a:gd name="connsiteX4" fmla="*/ 1527089 w 3217388"/>
                <a:gd name="connsiteY4" fmla="*/ 295107 h 1177883"/>
                <a:gd name="connsiteX5" fmla="*/ 2318481 w 3217388"/>
                <a:gd name="connsiteY5" fmla="*/ 4403 h 1177883"/>
                <a:gd name="connsiteX6" fmla="*/ 2318481 w 3217388"/>
                <a:gd name="connsiteY6" fmla="*/ 386070 h 1177883"/>
                <a:gd name="connsiteX7" fmla="*/ 2100884 w 3217388"/>
                <a:gd name="connsiteY7" fmla="*/ 274533 h 1177883"/>
                <a:gd name="connsiteX8" fmla="*/ 1939848 w 3217388"/>
                <a:gd name="connsiteY8" fmla="*/ 318919 h 1177883"/>
                <a:gd name="connsiteX9" fmla="*/ 1819785 w 3217388"/>
                <a:gd name="connsiteY9" fmla="*/ 441792 h 1177883"/>
                <a:gd name="connsiteX10" fmla="*/ 1776817 w 3217388"/>
                <a:gd name="connsiteY10" fmla="*/ 620576 h 1177883"/>
                <a:gd name="connsiteX11" fmla="*/ 1819785 w 3217388"/>
                <a:gd name="connsiteY11" fmla="*/ 800027 h 1177883"/>
                <a:gd name="connsiteX12" fmla="*/ 1940419 w 3217388"/>
                <a:gd name="connsiteY12" fmla="*/ 922899 h 1177883"/>
                <a:gd name="connsiteX13" fmla="*/ 2111816 w 3217388"/>
                <a:gd name="connsiteY13" fmla="*/ 966619 h 1177883"/>
                <a:gd name="connsiteX14" fmla="*/ 2318481 w 3217388"/>
                <a:gd name="connsiteY14" fmla="*/ 864606 h 1177883"/>
                <a:gd name="connsiteX15" fmla="*/ 2318481 w 3217388"/>
                <a:gd name="connsiteY15" fmla="*/ 947283 h 1177883"/>
                <a:gd name="connsiteX16" fmla="*/ 2496913 w 3217388"/>
                <a:gd name="connsiteY16" fmla="*/ 947283 h 1177883"/>
                <a:gd name="connsiteX17" fmla="*/ 2496913 w 3217388"/>
                <a:gd name="connsiteY17" fmla="*/ 4403 h 1177883"/>
                <a:gd name="connsiteX18" fmla="*/ 2318481 w 3217388"/>
                <a:gd name="connsiteY18" fmla="*/ 4403 h 1177883"/>
                <a:gd name="connsiteX19" fmla="*/ 2146323 w 3217388"/>
                <a:gd name="connsiteY19" fmla="*/ 813648 h 1177883"/>
                <a:gd name="connsiteX20" fmla="*/ 1957815 w 3217388"/>
                <a:gd name="connsiteY20" fmla="*/ 620576 h 1177883"/>
                <a:gd name="connsiteX21" fmla="*/ 2146323 w 3217388"/>
                <a:gd name="connsiteY21" fmla="*/ 427504 h 1177883"/>
                <a:gd name="connsiteX22" fmla="*/ 2334832 w 3217388"/>
                <a:gd name="connsiteY22" fmla="*/ 620576 h 1177883"/>
                <a:gd name="connsiteX23" fmla="*/ 2146323 w 3217388"/>
                <a:gd name="connsiteY23" fmla="*/ 813648 h 1177883"/>
                <a:gd name="connsiteX24" fmla="*/ 3186113 w 3217388"/>
                <a:gd name="connsiteY24" fmla="*/ 403787 h 1177883"/>
                <a:gd name="connsiteX25" fmla="*/ 3097515 w 3217388"/>
                <a:gd name="connsiteY25" fmla="*/ 307298 h 1177883"/>
                <a:gd name="connsiteX26" fmla="*/ 2959485 w 3217388"/>
                <a:gd name="connsiteY26" fmla="*/ 274533 h 1177883"/>
                <a:gd name="connsiteX27" fmla="*/ 2759189 w 3217388"/>
                <a:gd name="connsiteY27" fmla="*/ 385975 h 1177883"/>
                <a:gd name="connsiteX28" fmla="*/ 2759189 w 3217388"/>
                <a:gd name="connsiteY28" fmla="*/ 4403 h 1177883"/>
                <a:gd name="connsiteX29" fmla="*/ 2580567 w 3217388"/>
                <a:gd name="connsiteY29" fmla="*/ 4403 h 1177883"/>
                <a:gd name="connsiteX30" fmla="*/ 2580567 w 3217388"/>
                <a:gd name="connsiteY30" fmla="*/ 947283 h 1177883"/>
                <a:gd name="connsiteX31" fmla="*/ 2759094 w 3217388"/>
                <a:gd name="connsiteY31" fmla="*/ 947283 h 1177883"/>
                <a:gd name="connsiteX32" fmla="*/ 2759094 w 3217388"/>
                <a:gd name="connsiteY32" fmla="*/ 598097 h 1177883"/>
                <a:gd name="connsiteX33" fmla="*/ 2902162 w 3217388"/>
                <a:gd name="connsiteY33" fmla="*/ 429219 h 1177883"/>
                <a:gd name="connsiteX34" fmla="*/ 3038957 w 3217388"/>
                <a:gd name="connsiteY34" fmla="*/ 598097 h 1177883"/>
                <a:gd name="connsiteX35" fmla="*/ 3038957 w 3217388"/>
                <a:gd name="connsiteY35" fmla="*/ 947283 h 1177883"/>
                <a:gd name="connsiteX36" fmla="*/ 3217388 w 3217388"/>
                <a:gd name="connsiteY36" fmla="*/ 947283 h 1177883"/>
                <a:gd name="connsiteX37" fmla="*/ 3217388 w 3217388"/>
                <a:gd name="connsiteY37" fmla="*/ 560092 h 1177883"/>
                <a:gd name="connsiteX38" fmla="*/ 3185923 w 3217388"/>
                <a:gd name="connsiteY38" fmla="*/ 403787 h 1177883"/>
                <a:gd name="connsiteX39" fmla="*/ 1731282 w 3217388"/>
                <a:gd name="connsiteY39" fmla="*/ 100701 h 1177883"/>
                <a:gd name="connsiteX40" fmla="*/ 1615972 w 3217388"/>
                <a:gd name="connsiteY40" fmla="*/ 216906 h 1177883"/>
                <a:gd name="connsiteX41" fmla="*/ 1507221 w 3217388"/>
                <a:gd name="connsiteY41" fmla="*/ 156803 h 1177883"/>
                <a:gd name="connsiteX42" fmla="*/ 1560836 w 3217388"/>
                <a:gd name="connsiteY42" fmla="*/ 8499 h 1177883"/>
                <a:gd name="connsiteX43" fmla="*/ 1731187 w 3217388"/>
                <a:gd name="connsiteY43" fmla="*/ 100606 h 1177883"/>
                <a:gd name="connsiteX44" fmla="*/ 1731187 w 3217388"/>
                <a:gd name="connsiteY44" fmla="*/ 100606 h 1177883"/>
                <a:gd name="connsiteX45" fmla="*/ 243274 w 3217388"/>
                <a:gd name="connsiteY45" fmla="*/ 1020912 h 1177883"/>
                <a:gd name="connsiteX46" fmla="*/ 250974 w 3217388"/>
                <a:gd name="connsiteY46" fmla="*/ 1046439 h 1177883"/>
                <a:gd name="connsiteX47" fmla="*/ 217798 w 3217388"/>
                <a:gd name="connsiteY47" fmla="*/ 1047010 h 1177883"/>
                <a:gd name="connsiteX48" fmla="*/ 198975 w 3217388"/>
                <a:gd name="connsiteY48" fmla="*/ 1012625 h 1177883"/>
                <a:gd name="connsiteX49" fmla="*/ 243274 w 3217388"/>
                <a:gd name="connsiteY49" fmla="*/ 1020912 h 1177883"/>
                <a:gd name="connsiteX50" fmla="*/ 848820 w 3217388"/>
                <a:gd name="connsiteY50" fmla="*/ 564283 h 1177883"/>
                <a:gd name="connsiteX51" fmla="*/ 826290 w 3217388"/>
                <a:gd name="connsiteY51" fmla="*/ 650103 h 1177883"/>
                <a:gd name="connsiteX52" fmla="*/ 712121 w 3217388"/>
                <a:gd name="connsiteY52" fmla="*/ 716302 h 1177883"/>
                <a:gd name="connsiteX53" fmla="*/ 683507 w 3217388"/>
                <a:gd name="connsiteY53" fmla="*/ 719255 h 1177883"/>
                <a:gd name="connsiteX54" fmla="*/ 564489 w 3217388"/>
                <a:gd name="connsiteY54" fmla="*/ 646103 h 1177883"/>
                <a:gd name="connsiteX55" fmla="*/ 631223 w 3217388"/>
                <a:gd name="connsiteY55" fmla="*/ 446173 h 1177883"/>
                <a:gd name="connsiteX56" fmla="*/ 765451 w 3217388"/>
                <a:gd name="connsiteY56" fmla="*/ 454841 h 1177883"/>
                <a:gd name="connsiteX57" fmla="*/ 848915 w 3217388"/>
                <a:gd name="connsiteY57" fmla="*/ 563997 h 1177883"/>
                <a:gd name="connsiteX58" fmla="*/ 848915 w 3217388"/>
                <a:gd name="connsiteY58" fmla="*/ 564188 h 1177883"/>
                <a:gd name="connsiteX59" fmla="*/ 808039 w 3217388"/>
                <a:gd name="connsiteY59" fmla="*/ 570760 h 1177883"/>
                <a:gd name="connsiteX60" fmla="*/ 718680 w 3217388"/>
                <a:gd name="connsiteY60" fmla="*/ 484749 h 1177883"/>
                <a:gd name="connsiteX61" fmla="*/ 692158 w 3217388"/>
                <a:gd name="connsiteY61" fmla="*/ 481511 h 1177883"/>
                <a:gd name="connsiteX62" fmla="*/ 624759 w 3217388"/>
                <a:gd name="connsiteY62" fmla="*/ 514182 h 1177883"/>
                <a:gd name="connsiteX63" fmla="*/ 612211 w 3217388"/>
                <a:gd name="connsiteY63" fmla="*/ 626291 h 1177883"/>
                <a:gd name="connsiteX64" fmla="*/ 684933 w 3217388"/>
                <a:gd name="connsiteY64" fmla="*/ 671058 h 1177883"/>
                <a:gd name="connsiteX65" fmla="*/ 788076 w 3217388"/>
                <a:gd name="connsiteY65" fmla="*/ 630006 h 1177883"/>
                <a:gd name="connsiteX66" fmla="*/ 807943 w 3217388"/>
                <a:gd name="connsiteY66" fmla="*/ 570665 h 1177883"/>
                <a:gd name="connsiteX67" fmla="*/ 893024 w 3217388"/>
                <a:gd name="connsiteY67" fmla="*/ 502656 h 1177883"/>
                <a:gd name="connsiteX68" fmla="*/ 838173 w 3217388"/>
                <a:gd name="connsiteY68" fmla="*/ 782977 h 1177883"/>
                <a:gd name="connsiteX69" fmla="*/ 677043 w 3217388"/>
                <a:gd name="connsiteY69" fmla="*/ 846414 h 1177883"/>
                <a:gd name="connsiteX70" fmla="*/ 622097 w 3217388"/>
                <a:gd name="connsiteY70" fmla="*/ 840508 h 1177883"/>
                <a:gd name="connsiteX71" fmla="*/ 418569 w 3217388"/>
                <a:gd name="connsiteY71" fmla="*/ 675059 h 1177883"/>
                <a:gd name="connsiteX72" fmla="*/ 419710 w 3217388"/>
                <a:gd name="connsiteY72" fmla="*/ 475224 h 1177883"/>
                <a:gd name="connsiteX73" fmla="*/ 569147 w 3217388"/>
                <a:gd name="connsiteY73" fmla="*/ 334254 h 1177883"/>
                <a:gd name="connsiteX74" fmla="*/ 753663 w 3217388"/>
                <a:gd name="connsiteY74" fmla="*/ 342922 h 1177883"/>
                <a:gd name="connsiteX75" fmla="*/ 893024 w 3217388"/>
                <a:gd name="connsiteY75" fmla="*/ 502561 h 1177883"/>
                <a:gd name="connsiteX76" fmla="*/ 880381 w 3217388"/>
                <a:gd name="connsiteY76" fmla="*/ 507323 h 1177883"/>
                <a:gd name="connsiteX77" fmla="*/ 880381 w 3217388"/>
                <a:gd name="connsiteY77" fmla="*/ 507323 h 1177883"/>
                <a:gd name="connsiteX78" fmla="*/ 670198 w 3217388"/>
                <a:gd name="connsiteY78" fmla="*/ 370449 h 1177883"/>
                <a:gd name="connsiteX79" fmla="*/ 669153 w 3217388"/>
                <a:gd name="connsiteY79" fmla="*/ 370449 h 1177883"/>
                <a:gd name="connsiteX80" fmla="*/ 485588 w 3217388"/>
                <a:gd name="connsiteY80" fmla="*/ 460746 h 1177883"/>
                <a:gd name="connsiteX81" fmla="*/ 448704 w 3217388"/>
                <a:gd name="connsiteY81" fmla="*/ 664391 h 1177883"/>
                <a:gd name="connsiteX82" fmla="*/ 557170 w 3217388"/>
                <a:gd name="connsiteY82" fmla="*/ 793264 h 1177883"/>
                <a:gd name="connsiteX83" fmla="*/ 734270 w 3217388"/>
                <a:gd name="connsiteY83" fmla="*/ 794121 h 1177883"/>
                <a:gd name="connsiteX84" fmla="*/ 880381 w 3217388"/>
                <a:gd name="connsiteY84" fmla="*/ 507419 h 1177883"/>
                <a:gd name="connsiteX85" fmla="*/ 634645 w 3217388"/>
                <a:gd name="connsiteY85" fmla="*/ 996051 h 1177883"/>
                <a:gd name="connsiteX86" fmla="*/ 488535 w 3217388"/>
                <a:gd name="connsiteY86" fmla="*/ 966524 h 1177883"/>
                <a:gd name="connsiteX87" fmla="*/ 255062 w 3217388"/>
                <a:gd name="connsiteY87" fmla="*/ 426742 h 1177883"/>
                <a:gd name="connsiteX88" fmla="*/ 580460 w 3217388"/>
                <a:gd name="connsiteY88" fmla="*/ 157280 h 1177883"/>
                <a:gd name="connsiteX89" fmla="*/ 969359 w 3217388"/>
                <a:gd name="connsiteY89" fmla="*/ 317490 h 1177883"/>
                <a:gd name="connsiteX90" fmla="*/ 1014704 w 3217388"/>
                <a:gd name="connsiteY90" fmla="*/ 721255 h 1177883"/>
                <a:gd name="connsiteX91" fmla="*/ 785129 w 3217388"/>
                <a:gd name="connsiteY91" fmla="*/ 964714 h 1177883"/>
                <a:gd name="connsiteX92" fmla="*/ 634645 w 3217388"/>
                <a:gd name="connsiteY92" fmla="*/ 996051 h 1177883"/>
                <a:gd name="connsiteX93" fmla="*/ 1002631 w 3217388"/>
                <a:gd name="connsiteY93" fmla="*/ 716493 h 1177883"/>
                <a:gd name="connsiteX94" fmla="*/ 945593 w 3217388"/>
                <a:gd name="connsiteY94" fmla="*/ 359496 h 1177883"/>
                <a:gd name="connsiteX95" fmla="*/ 637212 w 3217388"/>
                <a:gd name="connsiteY95" fmla="*/ 204333 h 1177883"/>
                <a:gd name="connsiteX96" fmla="*/ 590156 w 3217388"/>
                <a:gd name="connsiteY96" fmla="*/ 207191 h 1177883"/>
                <a:gd name="connsiteX97" fmla="*/ 284151 w 3217388"/>
                <a:gd name="connsiteY97" fmla="*/ 438077 h 1177883"/>
                <a:gd name="connsiteX98" fmla="*/ 376456 w 3217388"/>
                <a:gd name="connsiteY98" fmla="*/ 851748 h 1177883"/>
                <a:gd name="connsiteX99" fmla="*/ 744632 w 3217388"/>
                <a:gd name="connsiteY99" fmla="*/ 937568 h 1177883"/>
                <a:gd name="connsiteX100" fmla="*/ 1002536 w 3217388"/>
                <a:gd name="connsiteY100" fmla="*/ 716493 h 1177883"/>
                <a:gd name="connsiteX101" fmla="*/ 1002536 w 3217388"/>
                <a:gd name="connsiteY101" fmla="*/ 716493 h 1177883"/>
                <a:gd name="connsiteX102" fmla="*/ 43834 w 3217388"/>
                <a:gd name="connsiteY102" fmla="*/ 569617 h 1177883"/>
                <a:gd name="connsiteX103" fmla="*/ 240328 w 3217388"/>
                <a:gd name="connsiteY103" fmla="*/ 192998 h 1177883"/>
                <a:gd name="connsiteX104" fmla="*/ 636451 w 3217388"/>
                <a:gd name="connsiteY104" fmla="*/ 44408 h 1177883"/>
                <a:gd name="connsiteX105" fmla="*/ 1012897 w 3217388"/>
                <a:gd name="connsiteY105" fmla="*/ 220240 h 1177883"/>
                <a:gd name="connsiteX106" fmla="*/ 1019742 w 3217388"/>
                <a:gd name="connsiteY106" fmla="*/ 223955 h 1177883"/>
                <a:gd name="connsiteX107" fmla="*/ 1027537 w 3217388"/>
                <a:gd name="connsiteY107" fmla="*/ 221288 h 1177883"/>
                <a:gd name="connsiteX108" fmla="*/ 1030674 w 3217388"/>
                <a:gd name="connsiteY108" fmla="*/ 213668 h 1177883"/>
                <a:gd name="connsiteX109" fmla="*/ 1027822 w 3217388"/>
                <a:gd name="connsiteY109" fmla="*/ 206905 h 1177883"/>
                <a:gd name="connsiteX110" fmla="*/ 565345 w 3217388"/>
                <a:gd name="connsiteY110" fmla="*/ 212 h 1177883"/>
                <a:gd name="connsiteX111" fmla="*/ 119504 w 3217388"/>
                <a:gd name="connsiteY111" fmla="*/ 229765 h 1177883"/>
                <a:gd name="connsiteX112" fmla="*/ 148402 w 3217388"/>
                <a:gd name="connsiteY112" fmla="*/ 978049 h 1177883"/>
                <a:gd name="connsiteX113" fmla="*/ 152775 w 3217388"/>
                <a:gd name="connsiteY113" fmla="*/ 982907 h 1177883"/>
                <a:gd name="connsiteX114" fmla="*/ 155057 w 3217388"/>
                <a:gd name="connsiteY114" fmla="*/ 985383 h 1177883"/>
                <a:gd name="connsiteX115" fmla="*/ 156198 w 3217388"/>
                <a:gd name="connsiteY115" fmla="*/ 986050 h 1177883"/>
                <a:gd name="connsiteX116" fmla="*/ 162852 w 3217388"/>
                <a:gd name="connsiteY116" fmla="*/ 987860 h 1177883"/>
                <a:gd name="connsiteX117" fmla="*/ 166464 w 3217388"/>
                <a:gd name="connsiteY117" fmla="*/ 987384 h 1177883"/>
                <a:gd name="connsiteX118" fmla="*/ 173974 w 3217388"/>
                <a:gd name="connsiteY118" fmla="*/ 981383 h 1177883"/>
                <a:gd name="connsiteX119" fmla="*/ 172168 w 3217388"/>
                <a:gd name="connsiteY119" fmla="*/ 967191 h 1177883"/>
                <a:gd name="connsiteX120" fmla="*/ 43929 w 3217388"/>
                <a:gd name="connsiteY120" fmla="*/ 569712 h 1177883"/>
                <a:gd name="connsiteX121" fmla="*/ 1172032 w 3217388"/>
                <a:gd name="connsiteY121" fmla="*/ 561997 h 1177883"/>
                <a:gd name="connsiteX122" fmla="*/ 1171651 w 3217388"/>
                <a:gd name="connsiteY122" fmla="*/ 559902 h 1177883"/>
                <a:gd name="connsiteX123" fmla="*/ 1159578 w 3217388"/>
                <a:gd name="connsiteY123" fmla="*/ 550853 h 1177883"/>
                <a:gd name="connsiteX124" fmla="*/ 1150738 w 3217388"/>
                <a:gd name="connsiteY124" fmla="*/ 555520 h 1177883"/>
                <a:gd name="connsiteX125" fmla="*/ 1148076 w 3217388"/>
                <a:gd name="connsiteY125" fmla="*/ 565521 h 1177883"/>
                <a:gd name="connsiteX126" fmla="*/ 1074403 w 3217388"/>
                <a:gd name="connsiteY126" fmla="*/ 861939 h 1177883"/>
                <a:gd name="connsiteX127" fmla="*/ 621241 w 3217388"/>
                <a:gd name="connsiteY127" fmla="*/ 1150642 h 1177883"/>
                <a:gd name="connsiteX128" fmla="*/ 609169 w 3217388"/>
                <a:gd name="connsiteY128" fmla="*/ 1165692 h 1177883"/>
                <a:gd name="connsiteX129" fmla="*/ 620481 w 3217388"/>
                <a:gd name="connsiteY129" fmla="*/ 1177693 h 1177883"/>
                <a:gd name="connsiteX130" fmla="*/ 621432 w 3217388"/>
                <a:gd name="connsiteY130" fmla="*/ 1177884 h 1177883"/>
                <a:gd name="connsiteX131" fmla="*/ 622382 w 3217388"/>
                <a:gd name="connsiteY131" fmla="*/ 1177884 h 1177883"/>
                <a:gd name="connsiteX132" fmla="*/ 664685 w 3217388"/>
                <a:gd name="connsiteY132" fmla="*/ 1174264 h 1177883"/>
                <a:gd name="connsiteX133" fmla="*/ 1045599 w 3217388"/>
                <a:gd name="connsiteY133" fmla="*/ 963285 h 1177883"/>
                <a:gd name="connsiteX134" fmla="*/ 1172032 w 3217388"/>
                <a:gd name="connsiteY134" fmla="*/ 561997 h 1177883"/>
                <a:gd name="connsiteX135" fmla="*/ 1170130 w 3217388"/>
                <a:gd name="connsiteY135" fmla="*/ 489226 h 1177883"/>
                <a:gd name="connsiteX136" fmla="*/ 1142657 w 3217388"/>
                <a:gd name="connsiteY136" fmla="*/ 363591 h 1177883"/>
                <a:gd name="connsiteX137" fmla="*/ 1115565 w 3217388"/>
                <a:gd name="connsiteY137" fmla="*/ 352923 h 1177883"/>
                <a:gd name="connsiteX138" fmla="*/ 1114804 w 3217388"/>
                <a:gd name="connsiteY138" fmla="*/ 389975 h 1177883"/>
                <a:gd name="connsiteX139" fmla="*/ 1145414 w 3217388"/>
                <a:gd name="connsiteY139" fmla="*/ 486559 h 1177883"/>
                <a:gd name="connsiteX140" fmla="*/ 1158913 w 3217388"/>
                <a:gd name="connsiteY140" fmla="*/ 501418 h 1177883"/>
                <a:gd name="connsiteX141" fmla="*/ 1170130 w 3217388"/>
                <a:gd name="connsiteY141" fmla="*/ 489321 h 1177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</a:cxnLst>
              <a:rect l="l" t="t" r="r" b="b"/>
              <a:pathLst>
                <a:path w="3217388" h="1177883">
                  <a:moveTo>
                    <a:pt x="1527089" y="295107"/>
                  </a:moveTo>
                  <a:lnTo>
                    <a:pt x="1705520" y="295107"/>
                  </a:lnTo>
                  <a:lnTo>
                    <a:pt x="1705520" y="947283"/>
                  </a:lnTo>
                  <a:lnTo>
                    <a:pt x="1527089" y="947283"/>
                  </a:lnTo>
                  <a:lnTo>
                    <a:pt x="1527089" y="295107"/>
                  </a:lnTo>
                  <a:close/>
                  <a:moveTo>
                    <a:pt x="2318481" y="4403"/>
                  </a:moveTo>
                  <a:lnTo>
                    <a:pt x="2318481" y="386070"/>
                  </a:lnTo>
                  <a:cubicBezTo>
                    <a:pt x="2295095" y="345779"/>
                    <a:pt x="2216669" y="274533"/>
                    <a:pt x="2100884" y="274533"/>
                  </a:cubicBezTo>
                  <a:cubicBezTo>
                    <a:pt x="2046888" y="274533"/>
                    <a:pt x="1991182" y="289296"/>
                    <a:pt x="1939848" y="318919"/>
                  </a:cubicBezTo>
                  <a:cubicBezTo>
                    <a:pt x="1888515" y="348542"/>
                    <a:pt x="1848494" y="389499"/>
                    <a:pt x="1819785" y="441792"/>
                  </a:cubicBezTo>
                  <a:cubicBezTo>
                    <a:pt x="1791076" y="494084"/>
                    <a:pt x="1776817" y="553710"/>
                    <a:pt x="1776817" y="620576"/>
                  </a:cubicBezTo>
                  <a:cubicBezTo>
                    <a:pt x="1776817" y="687441"/>
                    <a:pt x="1791171" y="747258"/>
                    <a:pt x="1819785" y="800027"/>
                  </a:cubicBezTo>
                  <a:cubicBezTo>
                    <a:pt x="1848399" y="852795"/>
                    <a:pt x="1888705" y="893753"/>
                    <a:pt x="1940419" y="922899"/>
                  </a:cubicBezTo>
                  <a:cubicBezTo>
                    <a:pt x="1992228" y="952046"/>
                    <a:pt x="2048409" y="966619"/>
                    <a:pt x="2111816" y="966619"/>
                  </a:cubicBezTo>
                  <a:cubicBezTo>
                    <a:pt x="2223704" y="966619"/>
                    <a:pt x="2302605" y="899182"/>
                    <a:pt x="2318481" y="864606"/>
                  </a:cubicBezTo>
                  <a:lnTo>
                    <a:pt x="2318481" y="947283"/>
                  </a:lnTo>
                  <a:cubicBezTo>
                    <a:pt x="2318481" y="947283"/>
                    <a:pt x="2496913" y="947283"/>
                    <a:pt x="2496913" y="947283"/>
                  </a:cubicBezTo>
                  <a:lnTo>
                    <a:pt x="2496913" y="4403"/>
                  </a:lnTo>
                  <a:lnTo>
                    <a:pt x="2318481" y="4403"/>
                  </a:lnTo>
                  <a:close/>
                  <a:moveTo>
                    <a:pt x="2146323" y="813648"/>
                  </a:moveTo>
                  <a:cubicBezTo>
                    <a:pt x="2030633" y="813648"/>
                    <a:pt x="1957815" y="728304"/>
                    <a:pt x="1957815" y="620576"/>
                  </a:cubicBezTo>
                  <a:cubicBezTo>
                    <a:pt x="1957815" y="512848"/>
                    <a:pt x="2030252" y="427504"/>
                    <a:pt x="2146323" y="427504"/>
                  </a:cubicBezTo>
                  <a:cubicBezTo>
                    <a:pt x="2262394" y="427504"/>
                    <a:pt x="2334832" y="512848"/>
                    <a:pt x="2334832" y="620576"/>
                  </a:cubicBezTo>
                  <a:cubicBezTo>
                    <a:pt x="2334832" y="728304"/>
                    <a:pt x="2260398" y="813648"/>
                    <a:pt x="2146323" y="813648"/>
                  </a:cubicBezTo>
                  <a:close/>
                  <a:moveTo>
                    <a:pt x="3186113" y="403787"/>
                  </a:moveTo>
                  <a:cubicBezTo>
                    <a:pt x="3165104" y="361305"/>
                    <a:pt x="3135635" y="329206"/>
                    <a:pt x="3097515" y="307298"/>
                  </a:cubicBezTo>
                  <a:cubicBezTo>
                    <a:pt x="3059395" y="285391"/>
                    <a:pt x="3013480" y="274533"/>
                    <a:pt x="2959485" y="274533"/>
                  </a:cubicBezTo>
                  <a:cubicBezTo>
                    <a:pt x="2848832" y="274533"/>
                    <a:pt x="2777441" y="350351"/>
                    <a:pt x="2759189" y="385975"/>
                  </a:cubicBezTo>
                  <a:lnTo>
                    <a:pt x="2759189" y="4403"/>
                  </a:lnTo>
                  <a:lnTo>
                    <a:pt x="2580567" y="4403"/>
                  </a:lnTo>
                  <a:lnTo>
                    <a:pt x="2580567" y="947283"/>
                  </a:lnTo>
                  <a:lnTo>
                    <a:pt x="2759094" y="947283"/>
                  </a:lnTo>
                  <a:lnTo>
                    <a:pt x="2759094" y="598097"/>
                  </a:lnTo>
                  <a:cubicBezTo>
                    <a:pt x="2759094" y="495227"/>
                    <a:pt x="2816987" y="429219"/>
                    <a:pt x="2902162" y="429219"/>
                  </a:cubicBezTo>
                  <a:cubicBezTo>
                    <a:pt x="2947792" y="429219"/>
                    <a:pt x="3038957" y="462175"/>
                    <a:pt x="3038957" y="598097"/>
                  </a:cubicBezTo>
                  <a:lnTo>
                    <a:pt x="3038957" y="947283"/>
                  </a:lnTo>
                  <a:lnTo>
                    <a:pt x="3217388" y="947283"/>
                  </a:lnTo>
                  <a:lnTo>
                    <a:pt x="3217388" y="560092"/>
                  </a:lnTo>
                  <a:cubicBezTo>
                    <a:pt x="3217388" y="498370"/>
                    <a:pt x="3206932" y="446268"/>
                    <a:pt x="3185923" y="403787"/>
                  </a:cubicBezTo>
                  <a:close/>
                  <a:moveTo>
                    <a:pt x="1731282" y="100701"/>
                  </a:moveTo>
                  <a:cubicBezTo>
                    <a:pt x="1740503" y="166900"/>
                    <a:pt x="1673104" y="211667"/>
                    <a:pt x="1615972" y="216906"/>
                  </a:cubicBezTo>
                  <a:cubicBezTo>
                    <a:pt x="1570342" y="223193"/>
                    <a:pt x="1522621" y="204333"/>
                    <a:pt x="1507221" y="156803"/>
                  </a:cubicBezTo>
                  <a:cubicBezTo>
                    <a:pt x="1489539" y="102987"/>
                    <a:pt x="1506555" y="32978"/>
                    <a:pt x="1560836" y="8499"/>
                  </a:cubicBezTo>
                  <a:cubicBezTo>
                    <a:pt x="1627474" y="-20266"/>
                    <a:pt x="1718163" y="27359"/>
                    <a:pt x="1731187" y="100606"/>
                  </a:cubicBezTo>
                  <a:lnTo>
                    <a:pt x="1731187" y="100606"/>
                  </a:lnTo>
                  <a:close/>
                  <a:moveTo>
                    <a:pt x="243274" y="1020912"/>
                  </a:moveTo>
                  <a:cubicBezTo>
                    <a:pt x="251735" y="1025864"/>
                    <a:pt x="257819" y="1034437"/>
                    <a:pt x="250974" y="1046439"/>
                  </a:cubicBezTo>
                  <a:cubicBezTo>
                    <a:pt x="244130" y="1058440"/>
                    <a:pt x="225213" y="1053297"/>
                    <a:pt x="217798" y="1047010"/>
                  </a:cubicBezTo>
                  <a:cubicBezTo>
                    <a:pt x="206961" y="1037771"/>
                    <a:pt x="194793" y="1016816"/>
                    <a:pt x="198975" y="1012625"/>
                  </a:cubicBezTo>
                  <a:cubicBezTo>
                    <a:pt x="203158" y="1008434"/>
                    <a:pt x="234814" y="1015959"/>
                    <a:pt x="243274" y="1020912"/>
                  </a:cubicBezTo>
                  <a:close/>
                  <a:moveTo>
                    <a:pt x="848820" y="564283"/>
                  </a:moveTo>
                  <a:cubicBezTo>
                    <a:pt x="853383" y="594382"/>
                    <a:pt x="845588" y="624100"/>
                    <a:pt x="826290" y="650103"/>
                  </a:cubicBezTo>
                  <a:cubicBezTo>
                    <a:pt x="800814" y="684489"/>
                    <a:pt x="757085" y="709825"/>
                    <a:pt x="712121" y="716302"/>
                  </a:cubicBezTo>
                  <a:cubicBezTo>
                    <a:pt x="702900" y="718302"/>
                    <a:pt x="693299" y="719255"/>
                    <a:pt x="683507" y="719255"/>
                  </a:cubicBezTo>
                  <a:cubicBezTo>
                    <a:pt x="635406" y="719255"/>
                    <a:pt x="583692" y="695157"/>
                    <a:pt x="564489" y="646103"/>
                  </a:cubicBezTo>
                  <a:cubicBezTo>
                    <a:pt x="536161" y="577332"/>
                    <a:pt x="556219" y="480558"/>
                    <a:pt x="631223" y="446173"/>
                  </a:cubicBezTo>
                  <a:cubicBezTo>
                    <a:pt x="672955" y="428361"/>
                    <a:pt x="721912" y="431504"/>
                    <a:pt x="765451" y="454841"/>
                  </a:cubicBezTo>
                  <a:cubicBezTo>
                    <a:pt x="809750" y="478558"/>
                    <a:pt x="840170" y="518372"/>
                    <a:pt x="848915" y="563997"/>
                  </a:cubicBezTo>
                  <a:lnTo>
                    <a:pt x="848915" y="564188"/>
                  </a:lnTo>
                  <a:close/>
                  <a:moveTo>
                    <a:pt x="808039" y="570760"/>
                  </a:moveTo>
                  <a:cubicBezTo>
                    <a:pt x="801004" y="531041"/>
                    <a:pt x="764215" y="495703"/>
                    <a:pt x="718680" y="484749"/>
                  </a:cubicBezTo>
                  <a:cubicBezTo>
                    <a:pt x="709554" y="482559"/>
                    <a:pt x="700713" y="481511"/>
                    <a:pt x="692158" y="481511"/>
                  </a:cubicBezTo>
                  <a:cubicBezTo>
                    <a:pt x="664590" y="481511"/>
                    <a:pt x="640824" y="492846"/>
                    <a:pt x="624759" y="514182"/>
                  </a:cubicBezTo>
                  <a:cubicBezTo>
                    <a:pt x="603180" y="543423"/>
                    <a:pt x="598046" y="589620"/>
                    <a:pt x="612211" y="626291"/>
                  </a:cubicBezTo>
                  <a:cubicBezTo>
                    <a:pt x="622477" y="652961"/>
                    <a:pt x="650996" y="670487"/>
                    <a:pt x="684933" y="671058"/>
                  </a:cubicBezTo>
                  <a:cubicBezTo>
                    <a:pt x="723243" y="672201"/>
                    <a:pt x="764785" y="655628"/>
                    <a:pt x="788076" y="630006"/>
                  </a:cubicBezTo>
                  <a:cubicBezTo>
                    <a:pt x="803666" y="612956"/>
                    <a:pt x="810510" y="592382"/>
                    <a:pt x="807943" y="570665"/>
                  </a:cubicBezTo>
                  <a:close/>
                  <a:moveTo>
                    <a:pt x="893024" y="502656"/>
                  </a:moveTo>
                  <a:cubicBezTo>
                    <a:pt x="924014" y="587715"/>
                    <a:pt x="919166" y="707444"/>
                    <a:pt x="838173" y="782977"/>
                  </a:cubicBezTo>
                  <a:cubicBezTo>
                    <a:pt x="794730" y="824411"/>
                    <a:pt x="737883" y="846414"/>
                    <a:pt x="677043" y="846414"/>
                  </a:cubicBezTo>
                  <a:cubicBezTo>
                    <a:pt x="658981" y="846414"/>
                    <a:pt x="640634" y="844509"/>
                    <a:pt x="622097" y="840508"/>
                  </a:cubicBezTo>
                  <a:cubicBezTo>
                    <a:pt x="530742" y="821172"/>
                    <a:pt x="452791" y="757736"/>
                    <a:pt x="418569" y="675059"/>
                  </a:cubicBezTo>
                  <a:cubicBezTo>
                    <a:pt x="391096" y="613241"/>
                    <a:pt x="391476" y="540375"/>
                    <a:pt x="419710" y="475224"/>
                  </a:cubicBezTo>
                  <a:cubicBezTo>
                    <a:pt x="448609" y="408454"/>
                    <a:pt x="503079" y="357019"/>
                    <a:pt x="569147" y="334254"/>
                  </a:cubicBezTo>
                  <a:cubicBezTo>
                    <a:pt x="631413" y="311966"/>
                    <a:pt x="695200" y="315014"/>
                    <a:pt x="753663" y="342922"/>
                  </a:cubicBezTo>
                  <a:cubicBezTo>
                    <a:pt x="817165" y="373307"/>
                    <a:pt x="867928" y="431409"/>
                    <a:pt x="893024" y="502561"/>
                  </a:cubicBezTo>
                  <a:close/>
                  <a:moveTo>
                    <a:pt x="880381" y="507323"/>
                  </a:moveTo>
                  <a:lnTo>
                    <a:pt x="880381" y="507323"/>
                  </a:lnTo>
                  <a:cubicBezTo>
                    <a:pt x="851957" y="425885"/>
                    <a:pt x="765356" y="369497"/>
                    <a:pt x="670198" y="370449"/>
                  </a:cubicBezTo>
                  <a:cubicBezTo>
                    <a:pt x="669818" y="370449"/>
                    <a:pt x="669533" y="370449"/>
                    <a:pt x="669153" y="370449"/>
                  </a:cubicBezTo>
                  <a:cubicBezTo>
                    <a:pt x="595765" y="370449"/>
                    <a:pt x="528936" y="403311"/>
                    <a:pt x="485588" y="460746"/>
                  </a:cubicBezTo>
                  <a:cubicBezTo>
                    <a:pt x="441859" y="518658"/>
                    <a:pt x="428360" y="592858"/>
                    <a:pt x="448704" y="664391"/>
                  </a:cubicBezTo>
                  <a:cubicBezTo>
                    <a:pt x="465720" y="722493"/>
                    <a:pt x="504220" y="768309"/>
                    <a:pt x="557170" y="793264"/>
                  </a:cubicBezTo>
                  <a:cubicBezTo>
                    <a:pt x="611735" y="818982"/>
                    <a:pt x="676378" y="819267"/>
                    <a:pt x="734270" y="794121"/>
                  </a:cubicBezTo>
                  <a:cubicBezTo>
                    <a:pt x="839029" y="752307"/>
                    <a:pt x="924680" y="624291"/>
                    <a:pt x="880381" y="507419"/>
                  </a:cubicBezTo>
                  <a:close/>
                  <a:moveTo>
                    <a:pt x="634645" y="996051"/>
                  </a:moveTo>
                  <a:cubicBezTo>
                    <a:pt x="585118" y="996051"/>
                    <a:pt x="535686" y="986241"/>
                    <a:pt x="488535" y="966524"/>
                  </a:cubicBezTo>
                  <a:cubicBezTo>
                    <a:pt x="287383" y="883371"/>
                    <a:pt x="180438" y="636197"/>
                    <a:pt x="255062" y="426742"/>
                  </a:cubicBezTo>
                  <a:cubicBezTo>
                    <a:pt x="305065" y="281391"/>
                    <a:pt x="426744" y="180616"/>
                    <a:pt x="580460" y="157280"/>
                  </a:cubicBezTo>
                  <a:cubicBezTo>
                    <a:pt x="733605" y="134039"/>
                    <a:pt x="878955" y="193856"/>
                    <a:pt x="969359" y="317490"/>
                  </a:cubicBezTo>
                  <a:cubicBezTo>
                    <a:pt x="1049972" y="427790"/>
                    <a:pt x="1067748" y="586286"/>
                    <a:pt x="1014704" y="721255"/>
                  </a:cubicBezTo>
                  <a:cubicBezTo>
                    <a:pt x="972876" y="831078"/>
                    <a:pt x="889127" y="919851"/>
                    <a:pt x="785129" y="964714"/>
                  </a:cubicBezTo>
                  <a:cubicBezTo>
                    <a:pt x="736647" y="985574"/>
                    <a:pt x="685599" y="996051"/>
                    <a:pt x="634645" y="996051"/>
                  </a:cubicBezTo>
                  <a:close/>
                  <a:moveTo>
                    <a:pt x="1002631" y="716493"/>
                  </a:moveTo>
                  <a:cubicBezTo>
                    <a:pt x="1047975" y="601907"/>
                    <a:pt x="1025541" y="461794"/>
                    <a:pt x="945593" y="359496"/>
                  </a:cubicBezTo>
                  <a:cubicBezTo>
                    <a:pt x="870019" y="260340"/>
                    <a:pt x="757180" y="204333"/>
                    <a:pt x="637212" y="204333"/>
                  </a:cubicBezTo>
                  <a:cubicBezTo>
                    <a:pt x="621622" y="204333"/>
                    <a:pt x="605937" y="205286"/>
                    <a:pt x="590156" y="207191"/>
                  </a:cubicBezTo>
                  <a:cubicBezTo>
                    <a:pt x="454407" y="223669"/>
                    <a:pt x="339953" y="309966"/>
                    <a:pt x="284151" y="438077"/>
                  </a:cubicBezTo>
                  <a:cubicBezTo>
                    <a:pt x="221410" y="578952"/>
                    <a:pt x="260196" y="752878"/>
                    <a:pt x="376456" y="851748"/>
                  </a:cubicBezTo>
                  <a:cubicBezTo>
                    <a:pt x="472089" y="937187"/>
                    <a:pt x="613066" y="970048"/>
                    <a:pt x="744632" y="937568"/>
                  </a:cubicBezTo>
                  <a:cubicBezTo>
                    <a:pt x="866882" y="907469"/>
                    <a:pt x="960898" y="826887"/>
                    <a:pt x="1002536" y="716493"/>
                  </a:cubicBezTo>
                  <a:lnTo>
                    <a:pt x="1002536" y="716493"/>
                  </a:lnTo>
                  <a:close/>
                  <a:moveTo>
                    <a:pt x="43834" y="569617"/>
                  </a:moveTo>
                  <a:cubicBezTo>
                    <a:pt x="57713" y="426551"/>
                    <a:pt x="127584" y="292725"/>
                    <a:pt x="240328" y="192998"/>
                  </a:cubicBezTo>
                  <a:cubicBezTo>
                    <a:pt x="352881" y="93462"/>
                    <a:pt x="493478" y="40598"/>
                    <a:pt x="636451" y="44408"/>
                  </a:cubicBezTo>
                  <a:cubicBezTo>
                    <a:pt x="781516" y="48218"/>
                    <a:pt x="915174" y="110607"/>
                    <a:pt x="1012897" y="220240"/>
                  </a:cubicBezTo>
                  <a:cubicBezTo>
                    <a:pt x="1014609" y="222335"/>
                    <a:pt x="1017080" y="223669"/>
                    <a:pt x="1019742" y="223955"/>
                  </a:cubicBezTo>
                  <a:cubicBezTo>
                    <a:pt x="1022594" y="224241"/>
                    <a:pt x="1025541" y="223288"/>
                    <a:pt x="1027537" y="221288"/>
                  </a:cubicBezTo>
                  <a:cubicBezTo>
                    <a:pt x="1029628" y="219383"/>
                    <a:pt x="1030769" y="216525"/>
                    <a:pt x="1030674" y="213668"/>
                  </a:cubicBezTo>
                  <a:cubicBezTo>
                    <a:pt x="1030674" y="211096"/>
                    <a:pt x="1029533" y="208715"/>
                    <a:pt x="1027822" y="206905"/>
                  </a:cubicBezTo>
                  <a:cubicBezTo>
                    <a:pt x="912512" y="70888"/>
                    <a:pt x="743967" y="-4264"/>
                    <a:pt x="565345" y="212"/>
                  </a:cubicBezTo>
                  <a:cubicBezTo>
                    <a:pt x="389765" y="4784"/>
                    <a:pt x="227304" y="88414"/>
                    <a:pt x="119504" y="229765"/>
                  </a:cubicBezTo>
                  <a:cubicBezTo>
                    <a:pt x="-50277" y="450459"/>
                    <a:pt x="-37824" y="772214"/>
                    <a:pt x="148402" y="978049"/>
                  </a:cubicBezTo>
                  <a:cubicBezTo>
                    <a:pt x="149828" y="979668"/>
                    <a:pt x="151349" y="981287"/>
                    <a:pt x="152775" y="982907"/>
                  </a:cubicBezTo>
                  <a:lnTo>
                    <a:pt x="155057" y="985383"/>
                  </a:lnTo>
                  <a:lnTo>
                    <a:pt x="156198" y="986050"/>
                  </a:lnTo>
                  <a:cubicBezTo>
                    <a:pt x="158194" y="987193"/>
                    <a:pt x="160570" y="987860"/>
                    <a:pt x="162852" y="987860"/>
                  </a:cubicBezTo>
                  <a:cubicBezTo>
                    <a:pt x="164088" y="987860"/>
                    <a:pt x="165228" y="987669"/>
                    <a:pt x="166464" y="987384"/>
                  </a:cubicBezTo>
                  <a:cubicBezTo>
                    <a:pt x="169696" y="986431"/>
                    <a:pt x="172453" y="984240"/>
                    <a:pt x="173974" y="981383"/>
                  </a:cubicBezTo>
                  <a:cubicBezTo>
                    <a:pt x="176351" y="976906"/>
                    <a:pt x="175685" y="971477"/>
                    <a:pt x="172168" y="967191"/>
                  </a:cubicBezTo>
                  <a:cubicBezTo>
                    <a:pt x="75300" y="856129"/>
                    <a:pt x="29765" y="714968"/>
                    <a:pt x="43929" y="569712"/>
                  </a:cubicBezTo>
                  <a:close/>
                  <a:moveTo>
                    <a:pt x="1172032" y="561997"/>
                  </a:moveTo>
                  <a:lnTo>
                    <a:pt x="1171651" y="559902"/>
                  </a:lnTo>
                  <a:cubicBezTo>
                    <a:pt x="1169940" y="554377"/>
                    <a:pt x="1164997" y="550567"/>
                    <a:pt x="1159578" y="550853"/>
                  </a:cubicBezTo>
                  <a:cubicBezTo>
                    <a:pt x="1156156" y="550948"/>
                    <a:pt x="1152924" y="552663"/>
                    <a:pt x="1150738" y="555520"/>
                  </a:cubicBezTo>
                  <a:cubicBezTo>
                    <a:pt x="1148551" y="558378"/>
                    <a:pt x="1147601" y="561902"/>
                    <a:pt x="1148076" y="565521"/>
                  </a:cubicBezTo>
                  <a:cubicBezTo>
                    <a:pt x="1151118" y="670677"/>
                    <a:pt x="1125641" y="773166"/>
                    <a:pt x="1074403" y="861939"/>
                  </a:cubicBezTo>
                  <a:cubicBezTo>
                    <a:pt x="980957" y="1028532"/>
                    <a:pt x="811746" y="1136450"/>
                    <a:pt x="621241" y="1150642"/>
                  </a:cubicBezTo>
                  <a:cubicBezTo>
                    <a:pt x="613827" y="1151595"/>
                    <a:pt x="608408" y="1158357"/>
                    <a:pt x="609169" y="1165692"/>
                  </a:cubicBezTo>
                  <a:cubicBezTo>
                    <a:pt x="609834" y="1171692"/>
                    <a:pt x="614397" y="1176550"/>
                    <a:pt x="620481" y="1177693"/>
                  </a:cubicBezTo>
                  <a:lnTo>
                    <a:pt x="621432" y="1177884"/>
                  </a:lnTo>
                  <a:lnTo>
                    <a:pt x="622382" y="1177884"/>
                  </a:lnTo>
                  <a:cubicBezTo>
                    <a:pt x="636642" y="1177217"/>
                    <a:pt x="650901" y="1175979"/>
                    <a:pt x="664685" y="1174264"/>
                  </a:cubicBezTo>
                  <a:cubicBezTo>
                    <a:pt x="816689" y="1155976"/>
                    <a:pt x="951963" y="1081014"/>
                    <a:pt x="1045599" y="963285"/>
                  </a:cubicBezTo>
                  <a:cubicBezTo>
                    <a:pt x="1135813" y="849843"/>
                    <a:pt x="1180682" y="707349"/>
                    <a:pt x="1172032" y="561997"/>
                  </a:cubicBezTo>
                  <a:close/>
                  <a:moveTo>
                    <a:pt x="1170130" y="489226"/>
                  </a:moveTo>
                  <a:cubicBezTo>
                    <a:pt x="1175073" y="468938"/>
                    <a:pt x="1167849" y="393595"/>
                    <a:pt x="1142657" y="363591"/>
                  </a:cubicBezTo>
                  <a:cubicBezTo>
                    <a:pt x="1134957" y="354352"/>
                    <a:pt x="1125831" y="346732"/>
                    <a:pt x="1115565" y="352923"/>
                  </a:cubicBezTo>
                  <a:cubicBezTo>
                    <a:pt x="1101876" y="361115"/>
                    <a:pt x="1104728" y="376069"/>
                    <a:pt x="1114804" y="389975"/>
                  </a:cubicBezTo>
                  <a:cubicBezTo>
                    <a:pt x="1131725" y="413407"/>
                    <a:pt x="1144559" y="466271"/>
                    <a:pt x="1145414" y="486559"/>
                  </a:cubicBezTo>
                  <a:cubicBezTo>
                    <a:pt x="1145794" y="495322"/>
                    <a:pt x="1151783" y="501227"/>
                    <a:pt x="1158913" y="501418"/>
                  </a:cubicBezTo>
                  <a:cubicBezTo>
                    <a:pt x="1166043" y="501513"/>
                    <a:pt x="1168039" y="497894"/>
                    <a:pt x="1170130" y="489321"/>
                  </a:cubicBezTo>
                  <a:close/>
                </a:path>
              </a:pathLst>
            </a:custGeom>
            <a:grpFill/>
            <a:ln w="9497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968"/>
            </a:p>
          </p:txBody>
        </p:sp>
        <p:grpSp>
          <p:nvGrpSpPr>
            <p:cNvPr id="29" name="Graphic 77">
              <a:extLst>
                <a:ext uri="{FF2B5EF4-FFF2-40B4-BE49-F238E27FC236}">
                  <a16:creationId xmlns:a16="http://schemas.microsoft.com/office/drawing/2014/main" id="{2F7C6FFA-2C76-FD6B-4AB6-E31AFDDBE3F3}"/>
                </a:ext>
              </a:extLst>
            </p:cNvPr>
            <p:cNvGrpSpPr/>
            <p:nvPr/>
          </p:nvGrpSpPr>
          <p:grpSpPr>
            <a:xfrm>
              <a:off x="6016337" y="3871817"/>
              <a:ext cx="1690870" cy="144494"/>
              <a:chOff x="6016337" y="3871817"/>
              <a:chExt cx="1690870" cy="144494"/>
            </a:xfrm>
            <a:grpFill/>
          </p:grpSpPr>
          <p:sp>
            <p:nvSpPr>
              <p:cNvPr id="30" name="Freeform 30">
                <a:extLst>
                  <a:ext uri="{FF2B5EF4-FFF2-40B4-BE49-F238E27FC236}">
                    <a16:creationId xmlns:a16="http://schemas.microsoft.com/office/drawing/2014/main" id="{7857866D-F907-DBEA-8F38-F0D89D6AFF13}"/>
                  </a:ext>
                </a:extLst>
              </p:cNvPr>
              <p:cNvSpPr/>
              <p:nvPr/>
            </p:nvSpPr>
            <p:spPr>
              <a:xfrm>
                <a:off x="6016337" y="3888581"/>
                <a:ext cx="56086" cy="95535"/>
              </a:xfrm>
              <a:custGeom>
                <a:avLst/>
                <a:gdLst>
                  <a:gd name="connsiteX0" fmla="*/ 12168 w 56086"/>
                  <a:gd name="connsiteY0" fmla="*/ 67056 h 95535"/>
                  <a:gd name="connsiteX1" fmla="*/ 12168 w 56086"/>
                  <a:gd name="connsiteY1" fmla="*/ 31623 h 95535"/>
                  <a:gd name="connsiteX2" fmla="*/ 0 w 56086"/>
                  <a:gd name="connsiteY2" fmla="*/ 31623 h 95535"/>
                  <a:gd name="connsiteX3" fmla="*/ 0 w 56086"/>
                  <a:gd name="connsiteY3" fmla="*/ 17431 h 95535"/>
                  <a:gd name="connsiteX4" fmla="*/ 9791 w 56086"/>
                  <a:gd name="connsiteY4" fmla="*/ 17431 h 95535"/>
                  <a:gd name="connsiteX5" fmla="*/ 14354 w 56086"/>
                  <a:gd name="connsiteY5" fmla="*/ 11525 h 95535"/>
                  <a:gd name="connsiteX6" fmla="*/ 15115 w 56086"/>
                  <a:gd name="connsiteY6" fmla="*/ 0 h 95535"/>
                  <a:gd name="connsiteX7" fmla="*/ 29564 w 56086"/>
                  <a:gd name="connsiteY7" fmla="*/ 0 h 95535"/>
                  <a:gd name="connsiteX8" fmla="*/ 29564 w 56086"/>
                  <a:gd name="connsiteY8" fmla="*/ 17526 h 95535"/>
                  <a:gd name="connsiteX9" fmla="*/ 56087 w 56086"/>
                  <a:gd name="connsiteY9" fmla="*/ 17526 h 95535"/>
                  <a:gd name="connsiteX10" fmla="*/ 56087 w 56086"/>
                  <a:gd name="connsiteY10" fmla="*/ 31718 h 95535"/>
                  <a:gd name="connsiteX11" fmla="*/ 29564 w 56086"/>
                  <a:gd name="connsiteY11" fmla="*/ 31718 h 95535"/>
                  <a:gd name="connsiteX12" fmla="*/ 29564 w 56086"/>
                  <a:gd name="connsiteY12" fmla="*/ 66199 h 95535"/>
                  <a:gd name="connsiteX13" fmla="*/ 43919 w 56086"/>
                  <a:gd name="connsiteY13" fmla="*/ 81153 h 95535"/>
                  <a:gd name="connsiteX14" fmla="*/ 55421 w 56086"/>
                  <a:gd name="connsiteY14" fmla="*/ 79724 h 95535"/>
                  <a:gd name="connsiteX15" fmla="*/ 55421 w 56086"/>
                  <a:gd name="connsiteY15" fmla="*/ 93631 h 95535"/>
                  <a:gd name="connsiteX16" fmla="*/ 41447 w 56086"/>
                  <a:gd name="connsiteY16" fmla="*/ 95536 h 95535"/>
                  <a:gd name="connsiteX17" fmla="*/ 12168 w 56086"/>
                  <a:gd name="connsiteY17" fmla="*/ 67151 h 95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6086" h="95535">
                    <a:moveTo>
                      <a:pt x="12168" y="67056"/>
                    </a:moveTo>
                    <a:lnTo>
                      <a:pt x="12168" y="31623"/>
                    </a:lnTo>
                    <a:lnTo>
                      <a:pt x="0" y="31623"/>
                    </a:lnTo>
                    <a:lnTo>
                      <a:pt x="0" y="17431"/>
                    </a:lnTo>
                    <a:lnTo>
                      <a:pt x="9791" y="17431"/>
                    </a:lnTo>
                    <a:cubicBezTo>
                      <a:pt x="12738" y="17431"/>
                      <a:pt x="13879" y="15907"/>
                      <a:pt x="14354" y="11525"/>
                    </a:cubicBezTo>
                    <a:lnTo>
                      <a:pt x="15115" y="0"/>
                    </a:lnTo>
                    <a:lnTo>
                      <a:pt x="29564" y="0"/>
                    </a:lnTo>
                    <a:lnTo>
                      <a:pt x="29564" y="17526"/>
                    </a:lnTo>
                    <a:lnTo>
                      <a:pt x="56087" y="17526"/>
                    </a:lnTo>
                    <a:lnTo>
                      <a:pt x="56087" y="31718"/>
                    </a:lnTo>
                    <a:lnTo>
                      <a:pt x="29564" y="31718"/>
                    </a:lnTo>
                    <a:lnTo>
                      <a:pt x="29564" y="66199"/>
                    </a:lnTo>
                    <a:cubicBezTo>
                      <a:pt x="29564" y="76200"/>
                      <a:pt x="33272" y="81153"/>
                      <a:pt x="43919" y="81153"/>
                    </a:cubicBezTo>
                    <a:cubicBezTo>
                      <a:pt x="48292" y="81153"/>
                      <a:pt x="53235" y="80391"/>
                      <a:pt x="55421" y="79724"/>
                    </a:cubicBezTo>
                    <a:lnTo>
                      <a:pt x="55421" y="93631"/>
                    </a:lnTo>
                    <a:cubicBezTo>
                      <a:pt x="53045" y="94393"/>
                      <a:pt x="47816" y="95536"/>
                      <a:pt x="41447" y="95536"/>
                    </a:cubicBezTo>
                    <a:cubicBezTo>
                      <a:pt x="20438" y="95536"/>
                      <a:pt x="12168" y="84106"/>
                      <a:pt x="12168" y="67151"/>
                    </a:cubicBez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31" name="Freeform 31">
                <a:extLst>
                  <a:ext uri="{FF2B5EF4-FFF2-40B4-BE49-F238E27FC236}">
                    <a16:creationId xmlns:a16="http://schemas.microsoft.com/office/drawing/2014/main" id="{AE662592-38C7-87B5-471D-73B03945BDFF}"/>
                  </a:ext>
                </a:extLst>
              </p:cNvPr>
              <p:cNvSpPr/>
              <p:nvPr/>
            </p:nvSpPr>
            <p:spPr>
              <a:xfrm>
                <a:off x="6086303" y="3904773"/>
                <a:ext cx="70250" cy="78295"/>
              </a:xfrm>
              <a:custGeom>
                <a:avLst/>
                <a:gdLst>
                  <a:gd name="connsiteX0" fmla="*/ 0 w 70250"/>
                  <a:gd name="connsiteY0" fmla="*/ 1238 h 78295"/>
                  <a:gd name="connsiteX1" fmla="*/ 17492 w 70250"/>
                  <a:gd name="connsiteY1" fmla="*/ 1238 h 78295"/>
                  <a:gd name="connsiteX2" fmla="*/ 16826 w 70250"/>
                  <a:gd name="connsiteY2" fmla="*/ 23432 h 78295"/>
                  <a:gd name="connsiteX3" fmla="*/ 17016 w 70250"/>
                  <a:gd name="connsiteY3" fmla="*/ 23432 h 78295"/>
                  <a:gd name="connsiteX4" fmla="*/ 44394 w 70250"/>
                  <a:gd name="connsiteY4" fmla="*/ 0 h 78295"/>
                  <a:gd name="connsiteX5" fmla="*/ 70251 w 70250"/>
                  <a:gd name="connsiteY5" fmla="*/ 30099 h 78295"/>
                  <a:gd name="connsiteX6" fmla="*/ 69490 w 70250"/>
                  <a:gd name="connsiteY6" fmla="*/ 44482 h 78295"/>
                  <a:gd name="connsiteX7" fmla="*/ 53615 w 70250"/>
                  <a:gd name="connsiteY7" fmla="*/ 44482 h 78295"/>
                  <a:gd name="connsiteX8" fmla="*/ 54281 w 70250"/>
                  <a:gd name="connsiteY8" fmla="*/ 34004 h 78295"/>
                  <a:gd name="connsiteX9" fmla="*/ 38976 w 70250"/>
                  <a:gd name="connsiteY9" fmla="*/ 14954 h 78295"/>
                  <a:gd name="connsiteX10" fmla="*/ 17492 w 70250"/>
                  <a:gd name="connsiteY10" fmla="*/ 44577 h 78295"/>
                  <a:gd name="connsiteX11" fmla="*/ 17492 w 70250"/>
                  <a:gd name="connsiteY11" fmla="*/ 78296 h 78295"/>
                  <a:gd name="connsiteX12" fmla="*/ 0 w 70250"/>
                  <a:gd name="connsiteY12" fmla="*/ 78296 h 78295"/>
                  <a:gd name="connsiteX13" fmla="*/ 0 w 70250"/>
                  <a:gd name="connsiteY13" fmla="*/ 1238 h 78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0250" h="78295">
                    <a:moveTo>
                      <a:pt x="0" y="1238"/>
                    </a:moveTo>
                    <a:lnTo>
                      <a:pt x="17492" y="1238"/>
                    </a:lnTo>
                    <a:lnTo>
                      <a:pt x="16826" y="23432"/>
                    </a:lnTo>
                    <a:lnTo>
                      <a:pt x="17016" y="23432"/>
                    </a:lnTo>
                    <a:cubicBezTo>
                      <a:pt x="20628" y="9525"/>
                      <a:pt x="28519" y="0"/>
                      <a:pt x="44394" y="0"/>
                    </a:cubicBezTo>
                    <a:cubicBezTo>
                      <a:pt x="61030" y="0"/>
                      <a:pt x="70251" y="10954"/>
                      <a:pt x="70251" y="30099"/>
                    </a:cubicBezTo>
                    <a:cubicBezTo>
                      <a:pt x="70251" y="34957"/>
                      <a:pt x="69776" y="41148"/>
                      <a:pt x="69490" y="44482"/>
                    </a:cubicBezTo>
                    <a:lnTo>
                      <a:pt x="53615" y="44482"/>
                    </a:lnTo>
                    <a:cubicBezTo>
                      <a:pt x="53900" y="41529"/>
                      <a:pt x="54281" y="37624"/>
                      <a:pt x="54281" y="34004"/>
                    </a:cubicBezTo>
                    <a:cubicBezTo>
                      <a:pt x="54281" y="21050"/>
                      <a:pt x="49337" y="14954"/>
                      <a:pt x="38976" y="14954"/>
                    </a:cubicBezTo>
                    <a:cubicBezTo>
                      <a:pt x="25762" y="14954"/>
                      <a:pt x="17492" y="26194"/>
                      <a:pt x="17492" y="44577"/>
                    </a:cubicBezTo>
                    <a:lnTo>
                      <a:pt x="17492" y="78296"/>
                    </a:lnTo>
                    <a:lnTo>
                      <a:pt x="0" y="78296"/>
                    </a:lnTo>
                    <a:lnTo>
                      <a:pt x="0" y="1238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32" name="Freeform 32">
                <a:extLst>
                  <a:ext uri="{FF2B5EF4-FFF2-40B4-BE49-F238E27FC236}">
                    <a16:creationId xmlns:a16="http://schemas.microsoft.com/office/drawing/2014/main" id="{A4EC5FDE-BB89-C005-58EC-A8EC690C2402}"/>
                  </a:ext>
                </a:extLst>
              </p:cNvPr>
              <p:cNvSpPr/>
              <p:nvPr/>
            </p:nvSpPr>
            <p:spPr>
              <a:xfrm>
                <a:off x="6169197" y="3904773"/>
                <a:ext cx="74909" cy="79533"/>
              </a:xfrm>
              <a:custGeom>
                <a:avLst/>
                <a:gdLst>
                  <a:gd name="connsiteX0" fmla="*/ 95 w 74909"/>
                  <a:gd name="connsiteY0" fmla="*/ 56198 h 79533"/>
                  <a:gd name="connsiteX1" fmla="*/ 28899 w 74909"/>
                  <a:gd name="connsiteY1" fmla="*/ 35243 h 79533"/>
                  <a:gd name="connsiteX2" fmla="*/ 57418 w 74909"/>
                  <a:gd name="connsiteY2" fmla="*/ 35243 h 79533"/>
                  <a:gd name="connsiteX3" fmla="*/ 57418 w 74909"/>
                  <a:gd name="connsiteY3" fmla="*/ 29813 h 79533"/>
                  <a:gd name="connsiteX4" fmla="*/ 37169 w 74909"/>
                  <a:gd name="connsiteY4" fmla="*/ 13145 h 79533"/>
                  <a:gd name="connsiteX5" fmla="*/ 18632 w 74909"/>
                  <a:gd name="connsiteY5" fmla="*/ 26289 h 79533"/>
                  <a:gd name="connsiteX6" fmla="*/ 18822 w 74909"/>
                  <a:gd name="connsiteY6" fmla="*/ 29242 h 79533"/>
                  <a:gd name="connsiteX7" fmla="*/ 2757 w 74909"/>
                  <a:gd name="connsiteY7" fmla="*/ 29242 h 79533"/>
                  <a:gd name="connsiteX8" fmla="*/ 2472 w 74909"/>
                  <a:gd name="connsiteY8" fmla="*/ 24670 h 79533"/>
                  <a:gd name="connsiteX9" fmla="*/ 37835 w 74909"/>
                  <a:gd name="connsiteY9" fmla="*/ 0 h 79533"/>
                  <a:gd name="connsiteX10" fmla="*/ 74909 w 74909"/>
                  <a:gd name="connsiteY10" fmla="*/ 31337 h 79533"/>
                  <a:gd name="connsiteX11" fmla="*/ 74909 w 74909"/>
                  <a:gd name="connsiteY11" fmla="*/ 78296 h 79533"/>
                  <a:gd name="connsiteX12" fmla="*/ 57418 w 74909"/>
                  <a:gd name="connsiteY12" fmla="*/ 78296 h 79533"/>
                  <a:gd name="connsiteX13" fmla="*/ 58178 w 74909"/>
                  <a:gd name="connsiteY13" fmla="*/ 61246 h 79533"/>
                  <a:gd name="connsiteX14" fmla="*/ 57988 w 74909"/>
                  <a:gd name="connsiteY14" fmla="*/ 61246 h 79533"/>
                  <a:gd name="connsiteX15" fmla="*/ 29279 w 74909"/>
                  <a:gd name="connsiteY15" fmla="*/ 79534 h 79533"/>
                  <a:gd name="connsiteX16" fmla="*/ 0 w 74909"/>
                  <a:gd name="connsiteY16" fmla="*/ 56102 h 79533"/>
                  <a:gd name="connsiteX17" fmla="*/ 57418 w 74909"/>
                  <a:gd name="connsiteY17" fmla="*/ 47339 h 79533"/>
                  <a:gd name="connsiteX18" fmla="*/ 57418 w 74909"/>
                  <a:gd name="connsiteY18" fmla="*/ 45910 h 79533"/>
                  <a:gd name="connsiteX19" fmla="*/ 30515 w 74909"/>
                  <a:gd name="connsiteY19" fmla="*/ 45910 h 79533"/>
                  <a:gd name="connsiteX20" fmla="*/ 16161 w 74909"/>
                  <a:gd name="connsiteY20" fmla="*/ 55435 h 79533"/>
                  <a:gd name="connsiteX21" fmla="*/ 32987 w 74909"/>
                  <a:gd name="connsiteY21" fmla="*/ 66485 h 79533"/>
                  <a:gd name="connsiteX22" fmla="*/ 57418 w 74909"/>
                  <a:gd name="connsiteY22" fmla="*/ 47244 h 79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74909" h="79533">
                    <a:moveTo>
                      <a:pt x="95" y="56198"/>
                    </a:moveTo>
                    <a:cubicBezTo>
                      <a:pt x="95" y="44482"/>
                      <a:pt x="8366" y="35243"/>
                      <a:pt x="28899" y="35243"/>
                    </a:cubicBezTo>
                    <a:lnTo>
                      <a:pt x="57418" y="35243"/>
                    </a:lnTo>
                    <a:lnTo>
                      <a:pt x="57418" y="29813"/>
                    </a:lnTo>
                    <a:cubicBezTo>
                      <a:pt x="57418" y="18288"/>
                      <a:pt x="50763" y="13145"/>
                      <a:pt x="37169" y="13145"/>
                    </a:cubicBezTo>
                    <a:cubicBezTo>
                      <a:pt x="25287" y="13145"/>
                      <a:pt x="18632" y="17717"/>
                      <a:pt x="18632" y="26289"/>
                    </a:cubicBezTo>
                    <a:cubicBezTo>
                      <a:pt x="18632" y="26765"/>
                      <a:pt x="18632" y="28004"/>
                      <a:pt x="18822" y="29242"/>
                    </a:cubicBezTo>
                    <a:lnTo>
                      <a:pt x="2757" y="29242"/>
                    </a:lnTo>
                    <a:cubicBezTo>
                      <a:pt x="2567" y="28099"/>
                      <a:pt x="2472" y="26099"/>
                      <a:pt x="2472" y="24670"/>
                    </a:cubicBezTo>
                    <a:cubicBezTo>
                      <a:pt x="2472" y="9239"/>
                      <a:pt x="15875" y="0"/>
                      <a:pt x="37835" y="0"/>
                    </a:cubicBezTo>
                    <a:cubicBezTo>
                      <a:pt x="61220" y="0"/>
                      <a:pt x="74909" y="11049"/>
                      <a:pt x="74909" y="31337"/>
                    </a:cubicBezTo>
                    <a:lnTo>
                      <a:pt x="74909" y="78296"/>
                    </a:lnTo>
                    <a:lnTo>
                      <a:pt x="57418" y="78296"/>
                    </a:lnTo>
                    <a:cubicBezTo>
                      <a:pt x="57703" y="74581"/>
                      <a:pt x="58178" y="67532"/>
                      <a:pt x="58178" y="61246"/>
                    </a:cubicBezTo>
                    <a:lnTo>
                      <a:pt x="57988" y="61246"/>
                    </a:lnTo>
                    <a:cubicBezTo>
                      <a:pt x="55516" y="72676"/>
                      <a:pt x="46295" y="79534"/>
                      <a:pt x="29279" y="79534"/>
                    </a:cubicBezTo>
                    <a:cubicBezTo>
                      <a:pt x="12263" y="79534"/>
                      <a:pt x="0" y="71152"/>
                      <a:pt x="0" y="56102"/>
                    </a:cubicBezTo>
                    <a:close/>
                    <a:moveTo>
                      <a:pt x="57418" y="47339"/>
                    </a:moveTo>
                    <a:lnTo>
                      <a:pt x="57418" y="45910"/>
                    </a:lnTo>
                    <a:lnTo>
                      <a:pt x="30515" y="45910"/>
                    </a:lnTo>
                    <a:cubicBezTo>
                      <a:pt x="20533" y="45910"/>
                      <a:pt x="16161" y="49340"/>
                      <a:pt x="16161" y="55435"/>
                    </a:cubicBezTo>
                    <a:cubicBezTo>
                      <a:pt x="16161" y="62484"/>
                      <a:pt x="22435" y="66485"/>
                      <a:pt x="32987" y="66485"/>
                    </a:cubicBezTo>
                    <a:cubicBezTo>
                      <a:pt x="48101" y="66485"/>
                      <a:pt x="57418" y="59150"/>
                      <a:pt x="57418" y="47244"/>
                    </a:cubicBez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33" name="Freeform 33">
                <a:extLst>
                  <a:ext uri="{FF2B5EF4-FFF2-40B4-BE49-F238E27FC236}">
                    <a16:creationId xmlns:a16="http://schemas.microsoft.com/office/drawing/2014/main" id="{5EE04E07-3782-291B-CE34-C1C9A3983C78}"/>
                  </a:ext>
                </a:extLst>
              </p:cNvPr>
              <p:cNvSpPr/>
              <p:nvPr/>
            </p:nvSpPr>
            <p:spPr>
              <a:xfrm>
                <a:off x="6260742" y="3904773"/>
                <a:ext cx="80612" cy="78390"/>
              </a:xfrm>
              <a:custGeom>
                <a:avLst/>
                <a:gdLst>
                  <a:gd name="connsiteX0" fmla="*/ 0 w 80612"/>
                  <a:gd name="connsiteY0" fmla="*/ 1238 h 78390"/>
                  <a:gd name="connsiteX1" fmla="*/ 17491 w 80612"/>
                  <a:gd name="connsiteY1" fmla="*/ 1238 h 78390"/>
                  <a:gd name="connsiteX2" fmla="*/ 16826 w 80612"/>
                  <a:gd name="connsiteY2" fmla="*/ 21812 h 78390"/>
                  <a:gd name="connsiteX3" fmla="*/ 17016 w 80612"/>
                  <a:gd name="connsiteY3" fmla="*/ 21812 h 78390"/>
                  <a:gd name="connsiteX4" fmla="*/ 49147 w 80612"/>
                  <a:gd name="connsiteY4" fmla="*/ 0 h 78390"/>
                  <a:gd name="connsiteX5" fmla="*/ 80613 w 80612"/>
                  <a:gd name="connsiteY5" fmla="*/ 30099 h 78390"/>
                  <a:gd name="connsiteX6" fmla="*/ 80613 w 80612"/>
                  <a:gd name="connsiteY6" fmla="*/ 78296 h 78390"/>
                  <a:gd name="connsiteX7" fmla="*/ 63121 w 80612"/>
                  <a:gd name="connsiteY7" fmla="*/ 78296 h 78390"/>
                  <a:gd name="connsiteX8" fmla="*/ 63121 w 80612"/>
                  <a:gd name="connsiteY8" fmla="*/ 34004 h 78390"/>
                  <a:gd name="connsiteX9" fmla="*/ 42398 w 80612"/>
                  <a:gd name="connsiteY9" fmla="*/ 14954 h 78390"/>
                  <a:gd name="connsiteX10" fmla="*/ 17491 w 80612"/>
                  <a:gd name="connsiteY10" fmla="*/ 41053 h 78390"/>
                  <a:gd name="connsiteX11" fmla="*/ 17491 w 80612"/>
                  <a:gd name="connsiteY11" fmla="*/ 78391 h 78390"/>
                  <a:gd name="connsiteX12" fmla="*/ 0 w 80612"/>
                  <a:gd name="connsiteY12" fmla="*/ 78391 h 78390"/>
                  <a:gd name="connsiteX13" fmla="*/ 0 w 80612"/>
                  <a:gd name="connsiteY13" fmla="*/ 1333 h 78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80612" h="78390">
                    <a:moveTo>
                      <a:pt x="0" y="1238"/>
                    </a:moveTo>
                    <a:lnTo>
                      <a:pt x="17491" y="1238"/>
                    </a:lnTo>
                    <a:lnTo>
                      <a:pt x="16826" y="21812"/>
                    </a:lnTo>
                    <a:lnTo>
                      <a:pt x="17016" y="21812"/>
                    </a:lnTo>
                    <a:cubicBezTo>
                      <a:pt x="21199" y="7906"/>
                      <a:pt x="31180" y="0"/>
                      <a:pt x="49147" y="0"/>
                    </a:cubicBezTo>
                    <a:cubicBezTo>
                      <a:pt x="68635" y="0"/>
                      <a:pt x="80613" y="11049"/>
                      <a:pt x="80613" y="30099"/>
                    </a:cubicBezTo>
                    <a:lnTo>
                      <a:pt x="80613" y="78296"/>
                    </a:lnTo>
                    <a:lnTo>
                      <a:pt x="63121" y="78296"/>
                    </a:lnTo>
                    <a:lnTo>
                      <a:pt x="63121" y="34004"/>
                    </a:lnTo>
                    <a:cubicBezTo>
                      <a:pt x="63121" y="21812"/>
                      <a:pt x="56277" y="14954"/>
                      <a:pt x="42398" y="14954"/>
                    </a:cubicBezTo>
                    <a:cubicBezTo>
                      <a:pt x="27093" y="14954"/>
                      <a:pt x="17491" y="24194"/>
                      <a:pt x="17491" y="41053"/>
                    </a:cubicBezTo>
                    <a:lnTo>
                      <a:pt x="17491" y="78391"/>
                    </a:lnTo>
                    <a:lnTo>
                      <a:pt x="0" y="78391"/>
                    </a:lnTo>
                    <a:lnTo>
                      <a:pt x="0" y="1333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34" name="Freeform 34">
                <a:extLst>
                  <a:ext uri="{FF2B5EF4-FFF2-40B4-BE49-F238E27FC236}">
                    <a16:creationId xmlns:a16="http://schemas.microsoft.com/office/drawing/2014/main" id="{48B7544C-B1F7-6797-1CBD-BAF7031E5167}"/>
                  </a:ext>
                </a:extLst>
              </p:cNvPr>
              <p:cNvSpPr/>
              <p:nvPr/>
            </p:nvSpPr>
            <p:spPr>
              <a:xfrm>
                <a:off x="6355614" y="3904678"/>
                <a:ext cx="73863" cy="79629"/>
              </a:xfrm>
              <a:custGeom>
                <a:avLst/>
                <a:gdLst>
                  <a:gd name="connsiteX0" fmla="*/ 0 w 73863"/>
                  <a:gd name="connsiteY0" fmla="*/ 52673 h 79629"/>
                  <a:gd name="connsiteX1" fmla="*/ 15780 w 73863"/>
                  <a:gd name="connsiteY1" fmla="*/ 52673 h 79629"/>
                  <a:gd name="connsiteX2" fmla="*/ 35838 w 73863"/>
                  <a:gd name="connsiteY2" fmla="*/ 67056 h 79629"/>
                  <a:gd name="connsiteX3" fmla="*/ 56277 w 73863"/>
                  <a:gd name="connsiteY3" fmla="*/ 55626 h 79629"/>
                  <a:gd name="connsiteX4" fmla="*/ 51143 w 73863"/>
                  <a:gd name="connsiteY4" fmla="*/ 48577 h 79629"/>
                  <a:gd name="connsiteX5" fmla="*/ 31561 w 73863"/>
                  <a:gd name="connsiteY5" fmla="*/ 45625 h 79629"/>
                  <a:gd name="connsiteX6" fmla="*/ 6749 w 73863"/>
                  <a:gd name="connsiteY6" fmla="*/ 39529 h 79629"/>
                  <a:gd name="connsiteX7" fmla="*/ 95 w 73863"/>
                  <a:gd name="connsiteY7" fmla="*/ 24860 h 79629"/>
                  <a:gd name="connsiteX8" fmla="*/ 35933 w 73863"/>
                  <a:gd name="connsiteY8" fmla="*/ 0 h 79629"/>
                  <a:gd name="connsiteX9" fmla="*/ 70536 w 73863"/>
                  <a:gd name="connsiteY9" fmla="*/ 27432 h 79629"/>
                  <a:gd name="connsiteX10" fmla="*/ 54756 w 73863"/>
                  <a:gd name="connsiteY10" fmla="*/ 27432 h 79629"/>
                  <a:gd name="connsiteX11" fmla="*/ 36409 w 73863"/>
                  <a:gd name="connsiteY11" fmla="*/ 12573 h 79629"/>
                  <a:gd name="connsiteX12" fmla="*/ 17396 w 73863"/>
                  <a:gd name="connsiteY12" fmla="*/ 23527 h 79629"/>
                  <a:gd name="connsiteX13" fmla="*/ 22720 w 73863"/>
                  <a:gd name="connsiteY13" fmla="*/ 31528 h 79629"/>
                  <a:gd name="connsiteX14" fmla="*/ 43158 w 73863"/>
                  <a:gd name="connsiteY14" fmla="*/ 34480 h 79629"/>
                  <a:gd name="connsiteX15" fmla="*/ 65783 w 73863"/>
                  <a:gd name="connsiteY15" fmla="*/ 39815 h 79629"/>
                  <a:gd name="connsiteX16" fmla="*/ 73863 w 73863"/>
                  <a:gd name="connsiteY16" fmla="*/ 54769 h 79629"/>
                  <a:gd name="connsiteX17" fmla="*/ 36124 w 73863"/>
                  <a:gd name="connsiteY17" fmla="*/ 79629 h 79629"/>
                  <a:gd name="connsiteX18" fmla="*/ 95 w 73863"/>
                  <a:gd name="connsiteY18" fmla="*/ 52673 h 79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73863" h="79629">
                    <a:moveTo>
                      <a:pt x="0" y="52673"/>
                    </a:moveTo>
                    <a:lnTo>
                      <a:pt x="15780" y="52673"/>
                    </a:lnTo>
                    <a:cubicBezTo>
                      <a:pt x="15780" y="61531"/>
                      <a:pt x="20914" y="67056"/>
                      <a:pt x="35838" y="67056"/>
                    </a:cubicBezTo>
                    <a:cubicBezTo>
                      <a:pt x="50003" y="67056"/>
                      <a:pt x="56277" y="62674"/>
                      <a:pt x="56277" y="55626"/>
                    </a:cubicBezTo>
                    <a:cubicBezTo>
                      <a:pt x="56277" y="52673"/>
                      <a:pt x="55136" y="50006"/>
                      <a:pt x="51143" y="48577"/>
                    </a:cubicBezTo>
                    <a:cubicBezTo>
                      <a:pt x="47436" y="47149"/>
                      <a:pt x="40116" y="46387"/>
                      <a:pt x="31561" y="45625"/>
                    </a:cubicBezTo>
                    <a:cubicBezTo>
                      <a:pt x="19583" y="44577"/>
                      <a:pt x="11503" y="42958"/>
                      <a:pt x="6749" y="39529"/>
                    </a:cubicBezTo>
                    <a:cubicBezTo>
                      <a:pt x="2567" y="36385"/>
                      <a:pt x="95" y="30766"/>
                      <a:pt x="95" y="24860"/>
                    </a:cubicBezTo>
                    <a:cubicBezTo>
                      <a:pt x="95" y="9430"/>
                      <a:pt x="15020" y="0"/>
                      <a:pt x="35933" y="0"/>
                    </a:cubicBezTo>
                    <a:cubicBezTo>
                      <a:pt x="59889" y="0"/>
                      <a:pt x="70536" y="10001"/>
                      <a:pt x="70536" y="27432"/>
                    </a:cubicBezTo>
                    <a:lnTo>
                      <a:pt x="54756" y="27432"/>
                    </a:lnTo>
                    <a:cubicBezTo>
                      <a:pt x="54566" y="17431"/>
                      <a:pt x="49147" y="12573"/>
                      <a:pt x="36409" y="12573"/>
                    </a:cubicBezTo>
                    <a:cubicBezTo>
                      <a:pt x="23671" y="12573"/>
                      <a:pt x="17396" y="16954"/>
                      <a:pt x="17396" y="23527"/>
                    </a:cubicBezTo>
                    <a:cubicBezTo>
                      <a:pt x="17396" y="26765"/>
                      <a:pt x="18157" y="29908"/>
                      <a:pt x="22720" y="31528"/>
                    </a:cubicBezTo>
                    <a:cubicBezTo>
                      <a:pt x="26427" y="32766"/>
                      <a:pt x="33747" y="33528"/>
                      <a:pt x="43158" y="34480"/>
                    </a:cubicBezTo>
                    <a:cubicBezTo>
                      <a:pt x="54090" y="35528"/>
                      <a:pt x="60269" y="36671"/>
                      <a:pt x="65783" y="39815"/>
                    </a:cubicBezTo>
                    <a:cubicBezTo>
                      <a:pt x="70916" y="42577"/>
                      <a:pt x="73863" y="48577"/>
                      <a:pt x="73863" y="54769"/>
                    </a:cubicBezTo>
                    <a:cubicBezTo>
                      <a:pt x="73863" y="70390"/>
                      <a:pt x="60745" y="79629"/>
                      <a:pt x="36124" y="79629"/>
                    </a:cubicBezTo>
                    <a:cubicBezTo>
                      <a:pt x="9601" y="79629"/>
                      <a:pt x="95" y="67723"/>
                      <a:pt x="95" y="52673"/>
                    </a:cubicBez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35" name="Freeform 35">
                <a:extLst>
                  <a:ext uri="{FF2B5EF4-FFF2-40B4-BE49-F238E27FC236}">
                    <a16:creationId xmlns:a16="http://schemas.microsoft.com/office/drawing/2014/main" id="{214FB701-B08A-6992-D371-D6E5E77F904B}"/>
                  </a:ext>
                </a:extLst>
              </p:cNvPr>
              <p:cNvSpPr/>
              <p:nvPr/>
            </p:nvSpPr>
            <p:spPr>
              <a:xfrm>
                <a:off x="6436797" y="3871817"/>
                <a:ext cx="56466" cy="111252"/>
              </a:xfrm>
              <a:custGeom>
                <a:avLst/>
                <a:gdLst>
                  <a:gd name="connsiteX0" fmla="*/ 12263 w 56466"/>
                  <a:gd name="connsiteY0" fmla="*/ 48387 h 111252"/>
                  <a:gd name="connsiteX1" fmla="*/ 0 w 56466"/>
                  <a:gd name="connsiteY1" fmla="*/ 48387 h 111252"/>
                  <a:gd name="connsiteX2" fmla="*/ 0 w 56466"/>
                  <a:gd name="connsiteY2" fmla="*/ 34195 h 111252"/>
                  <a:gd name="connsiteX3" fmla="*/ 12263 w 56466"/>
                  <a:gd name="connsiteY3" fmla="*/ 34195 h 111252"/>
                  <a:gd name="connsiteX4" fmla="*/ 12263 w 56466"/>
                  <a:gd name="connsiteY4" fmla="*/ 26575 h 111252"/>
                  <a:gd name="connsiteX5" fmla="*/ 40306 w 56466"/>
                  <a:gd name="connsiteY5" fmla="*/ 0 h 111252"/>
                  <a:gd name="connsiteX6" fmla="*/ 55231 w 56466"/>
                  <a:gd name="connsiteY6" fmla="*/ 2191 h 111252"/>
                  <a:gd name="connsiteX7" fmla="*/ 55231 w 56466"/>
                  <a:gd name="connsiteY7" fmla="*/ 16097 h 111252"/>
                  <a:gd name="connsiteX8" fmla="*/ 43348 w 56466"/>
                  <a:gd name="connsiteY8" fmla="*/ 14192 h 111252"/>
                  <a:gd name="connsiteX9" fmla="*/ 29659 w 56466"/>
                  <a:gd name="connsiteY9" fmla="*/ 27337 h 111252"/>
                  <a:gd name="connsiteX10" fmla="*/ 29659 w 56466"/>
                  <a:gd name="connsiteY10" fmla="*/ 34195 h 111252"/>
                  <a:gd name="connsiteX11" fmla="*/ 56467 w 56466"/>
                  <a:gd name="connsiteY11" fmla="*/ 34195 h 111252"/>
                  <a:gd name="connsiteX12" fmla="*/ 56467 w 56466"/>
                  <a:gd name="connsiteY12" fmla="*/ 48387 h 111252"/>
                  <a:gd name="connsiteX13" fmla="*/ 29659 w 56466"/>
                  <a:gd name="connsiteY13" fmla="*/ 48387 h 111252"/>
                  <a:gd name="connsiteX14" fmla="*/ 29659 w 56466"/>
                  <a:gd name="connsiteY14" fmla="*/ 111252 h 111252"/>
                  <a:gd name="connsiteX15" fmla="*/ 12168 w 56466"/>
                  <a:gd name="connsiteY15" fmla="*/ 111252 h 111252"/>
                  <a:gd name="connsiteX16" fmla="*/ 12168 w 56466"/>
                  <a:gd name="connsiteY16" fmla="*/ 48387 h 1112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</a:cxnLst>
                <a:rect l="l" t="t" r="r" b="b"/>
                <a:pathLst>
                  <a:path w="56466" h="111252">
                    <a:moveTo>
                      <a:pt x="12263" y="48387"/>
                    </a:moveTo>
                    <a:lnTo>
                      <a:pt x="0" y="48387"/>
                    </a:lnTo>
                    <a:lnTo>
                      <a:pt x="0" y="34195"/>
                    </a:lnTo>
                    <a:lnTo>
                      <a:pt x="12263" y="34195"/>
                    </a:lnTo>
                    <a:lnTo>
                      <a:pt x="12263" y="26575"/>
                    </a:lnTo>
                    <a:cubicBezTo>
                      <a:pt x="12263" y="9430"/>
                      <a:pt x="23670" y="0"/>
                      <a:pt x="40306" y="0"/>
                    </a:cubicBezTo>
                    <a:cubicBezTo>
                      <a:pt x="47151" y="0"/>
                      <a:pt x="52759" y="1238"/>
                      <a:pt x="55231" y="2191"/>
                    </a:cubicBezTo>
                    <a:lnTo>
                      <a:pt x="55231" y="16097"/>
                    </a:lnTo>
                    <a:cubicBezTo>
                      <a:pt x="52759" y="15335"/>
                      <a:pt x="48672" y="14192"/>
                      <a:pt x="43348" y="14192"/>
                    </a:cubicBezTo>
                    <a:cubicBezTo>
                      <a:pt x="34507" y="14192"/>
                      <a:pt x="29659" y="18860"/>
                      <a:pt x="29659" y="27337"/>
                    </a:cubicBezTo>
                    <a:lnTo>
                      <a:pt x="29659" y="34195"/>
                    </a:lnTo>
                    <a:lnTo>
                      <a:pt x="56467" y="34195"/>
                    </a:lnTo>
                    <a:lnTo>
                      <a:pt x="56467" y="48387"/>
                    </a:lnTo>
                    <a:lnTo>
                      <a:pt x="29659" y="48387"/>
                    </a:lnTo>
                    <a:lnTo>
                      <a:pt x="29659" y="111252"/>
                    </a:lnTo>
                    <a:lnTo>
                      <a:pt x="12168" y="111252"/>
                    </a:lnTo>
                    <a:lnTo>
                      <a:pt x="12168" y="48387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36" name="Freeform 36">
                <a:extLst>
                  <a:ext uri="{FF2B5EF4-FFF2-40B4-BE49-F238E27FC236}">
                    <a16:creationId xmlns:a16="http://schemas.microsoft.com/office/drawing/2014/main" id="{79438928-D0F1-DEF0-D5C6-776EEF2A7C0B}"/>
                  </a:ext>
                </a:extLst>
              </p:cNvPr>
              <p:cNvSpPr/>
              <p:nvPr/>
            </p:nvSpPr>
            <p:spPr>
              <a:xfrm>
                <a:off x="6497732" y="3904773"/>
                <a:ext cx="80517" cy="79533"/>
              </a:xfrm>
              <a:custGeom>
                <a:avLst/>
                <a:gdLst>
                  <a:gd name="connsiteX0" fmla="*/ 0 w 80517"/>
                  <a:gd name="connsiteY0" fmla="*/ 39910 h 79533"/>
                  <a:gd name="connsiteX1" fmla="*/ 40211 w 80517"/>
                  <a:gd name="connsiteY1" fmla="*/ 0 h 79533"/>
                  <a:gd name="connsiteX2" fmla="*/ 80518 w 80517"/>
                  <a:gd name="connsiteY2" fmla="*/ 39910 h 79533"/>
                  <a:gd name="connsiteX3" fmla="*/ 40211 w 80517"/>
                  <a:gd name="connsiteY3" fmla="*/ 79534 h 79533"/>
                  <a:gd name="connsiteX4" fmla="*/ 0 w 80517"/>
                  <a:gd name="connsiteY4" fmla="*/ 39910 h 79533"/>
                  <a:gd name="connsiteX5" fmla="*/ 63121 w 80517"/>
                  <a:gd name="connsiteY5" fmla="*/ 39910 h 79533"/>
                  <a:gd name="connsiteX6" fmla="*/ 40211 w 80517"/>
                  <a:gd name="connsiteY6" fmla="*/ 14288 h 79533"/>
                  <a:gd name="connsiteX7" fmla="*/ 17492 w 80517"/>
                  <a:gd name="connsiteY7" fmla="*/ 39910 h 79533"/>
                  <a:gd name="connsiteX8" fmla="*/ 40211 w 80517"/>
                  <a:gd name="connsiteY8" fmla="*/ 65151 h 79533"/>
                  <a:gd name="connsiteX9" fmla="*/ 63121 w 80517"/>
                  <a:gd name="connsiteY9" fmla="*/ 39910 h 79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80517" h="79533">
                    <a:moveTo>
                      <a:pt x="0" y="39910"/>
                    </a:moveTo>
                    <a:cubicBezTo>
                      <a:pt x="0" y="15240"/>
                      <a:pt x="15780" y="0"/>
                      <a:pt x="40211" y="0"/>
                    </a:cubicBezTo>
                    <a:cubicBezTo>
                      <a:pt x="64642" y="0"/>
                      <a:pt x="80518" y="15335"/>
                      <a:pt x="80518" y="39910"/>
                    </a:cubicBezTo>
                    <a:cubicBezTo>
                      <a:pt x="80518" y="64484"/>
                      <a:pt x="64737" y="79534"/>
                      <a:pt x="40211" y="79534"/>
                    </a:cubicBezTo>
                    <a:cubicBezTo>
                      <a:pt x="15685" y="79534"/>
                      <a:pt x="0" y="64389"/>
                      <a:pt x="0" y="39910"/>
                    </a:cubicBezTo>
                    <a:close/>
                    <a:moveTo>
                      <a:pt x="63121" y="39910"/>
                    </a:moveTo>
                    <a:cubicBezTo>
                      <a:pt x="63121" y="24098"/>
                      <a:pt x="54376" y="14288"/>
                      <a:pt x="40211" y="14288"/>
                    </a:cubicBezTo>
                    <a:cubicBezTo>
                      <a:pt x="26047" y="14288"/>
                      <a:pt x="17492" y="24098"/>
                      <a:pt x="17492" y="39910"/>
                    </a:cubicBezTo>
                    <a:cubicBezTo>
                      <a:pt x="17492" y="55721"/>
                      <a:pt x="26047" y="65151"/>
                      <a:pt x="40211" y="65151"/>
                    </a:cubicBezTo>
                    <a:cubicBezTo>
                      <a:pt x="54376" y="65151"/>
                      <a:pt x="63121" y="55435"/>
                      <a:pt x="63121" y="39910"/>
                    </a:cubicBez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37" name="Freeform 37">
                <a:extLst>
                  <a:ext uri="{FF2B5EF4-FFF2-40B4-BE49-F238E27FC236}">
                    <a16:creationId xmlns:a16="http://schemas.microsoft.com/office/drawing/2014/main" id="{A37F2F3B-B6C6-6013-7133-C133D7A44A05}"/>
                  </a:ext>
                </a:extLst>
              </p:cNvPr>
              <p:cNvSpPr/>
              <p:nvPr/>
            </p:nvSpPr>
            <p:spPr>
              <a:xfrm>
                <a:off x="6593174" y="3904773"/>
                <a:ext cx="70250" cy="78295"/>
              </a:xfrm>
              <a:custGeom>
                <a:avLst/>
                <a:gdLst>
                  <a:gd name="connsiteX0" fmla="*/ 0 w 70250"/>
                  <a:gd name="connsiteY0" fmla="*/ 1238 h 78295"/>
                  <a:gd name="connsiteX1" fmla="*/ 17491 w 70250"/>
                  <a:gd name="connsiteY1" fmla="*/ 1238 h 78295"/>
                  <a:gd name="connsiteX2" fmla="*/ 16826 w 70250"/>
                  <a:gd name="connsiteY2" fmla="*/ 23432 h 78295"/>
                  <a:gd name="connsiteX3" fmla="*/ 17016 w 70250"/>
                  <a:gd name="connsiteY3" fmla="*/ 23432 h 78295"/>
                  <a:gd name="connsiteX4" fmla="*/ 44394 w 70250"/>
                  <a:gd name="connsiteY4" fmla="*/ 0 h 78295"/>
                  <a:gd name="connsiteX5" fmla="*/ 70251 w 70250"/>
                  <a:gd name="connsiteY5" fmla="*/ 30099 h 78295"/>
                  <a:gd name="connsiteX6" fmla="*/ 69490 w 70250"/>
                  <a:gd name="connsiteY6" fmla="*/ 44482 h 78295"/>
                  <a:gd name="connsiteX7" fmla="*/ 53615 w 70250"/>
                  <a:gd name="connsiteY7" fmla="*/ 44482 h 78295"/>
                  <a:gd name="connsiteX8" fmla="*/ 54280 w 70250"/>
                  <a:gd name="connsiteY8" fmla="*/ 34004 h 78295"/>
                  <a:gd name="connsiteX9" fmla="*/ 38975 w 70250"/>
                  <a:gd name="connsiteY9" fmla="*/ 14954 h 78295"/>
                  <a:gd name="connsiteX10" fmla="*/ 17491 w 70250"/>
                  <a:gd name="connsiteY10" fmla="*/ 44577 h 78295"/>
                  <a:gd name="connsiteX11" fmla="*/ 17491 w 70250"/>
                  <a:gd name="connsiteY11" fmla="*/ 78296 h 78295"/>
                  <a:gd name="connsiteX12" fmla="*/ 0 w 70250"/>
                  <a:gd name="connsiteY12" fmla="*/ 78296 h 78295"/>
                  <a:gd name="connsiteX13" fmla="*/ 0 w 70250"/>
                  <a:gd name="connsiteY13" fmla="*/ 1238 h 78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0250" h="78295">
                    <a:moveTo>
                      <a:pt x="0" y="1238"/>
                    </a:moveTo>
                    <a:lnTo>
                      <a:pt x="17491" y="1238"/>
                    </a:lnTo>
                    <a:lnTo>
                      <a:pt x="16826" y="23432"/>
                    </a:lnTo>
                    <a:lnTo>
                      <a:pt x="17016" y="23432"/>
                    </a:lnTo>
                    <a:cubicBezTo>
                      <a:pt x="20628" y="9525"/>
                      <a:pt x="28519" y="0"/>
                      <a:pt x="44394" y="0"/>
                    </a:cubicBezTo>
                    <a:cubicBezTo>
                      <a:pt x="61030" y="0"/>
                      <a:pt x="70251" y="10954"/>
                      <a:pt x="70251" y="30099"/>
                    </a:cubicBezTo>
                    <a:cubicBezTo>
                      <a:pt x="70251" y="34957"/>
                      <a:pt x="69776" y="41148"/>
                      <a:pt x="69490" y="44482"/>
                    </a:cubicBezTo>
                    <a:lnTo>
                      <a:pt x="53615" y="44482"/>
                    </a:lnTo>
                    <a:cubicBezTo>
                      <a:pt x="53900" y="41529"/>
                      <a:pt x="54280" y="37624"/>
                      <a:pt x="54280" y="34004"/>
                    </a:cubicBezTo>
                    <a:cubicBezTo>
                      <a:pt x="54280" y="21050"/>
                      <a:pt x="49337" y="14954"/>
                      <a:pt x="38975" y="14954"/>
                    </a:cubicBezTo>
                    <a:cubicBezTo>
                      <a:pt x="25762" y="14954"/>
                      <a:pt x="17491" y="26194"/>
                      <a:pt x="17491" y="44577"/>
                    </a:cubicBezTo>
                    <a:lnTo>
                      <a:pt x="17491" y="78296"/>
                    </a:lnTo>
                    <a:lnTo>
                      <a:pt x="0" y="78296"/>
                    </a:lnTo>
                    <a:lnTo>
                      <a:pt x="0" y="1238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38" name="Freeform 38">
                <a:extLst>
                  <a:ext uri="{FF2B5EF4-FFF2-40B4-BE49-F238E27FC236}">
                    <a16:creationId xmlns:a16="http://schemas.microsoft.com/office/drawing/2014/main" id="{3971A5F6-9397-7BF4-C49F-39D9D111E81B}"/>
                  </a:ext>
                </a:extLst>
              </p:cNvPr>
              <p:cNvSpPr/>
              <p:nvPr/>
            </p:nvSpPr>
            <p:spPr>
              <a:xfrm>
                <a:off x="6678445" y="3904773"/>
                <a:ext cx="124246" cy="78295"/>
              </a:xfrm>
              <a:custGeom>
                <a:avLst/>
                <a:gdLst>
                  <a:gd name="connsiteX0" fmla="*/ 0 w 124246"/>
                  <a:gd name="connsiteY0" fmla="*/ 1238 h 78295"/>
                  <a:gd name="connsiteX1" fmla="*/ 17491 w 124246"/>
                  <a:gd name="connsiteY1" fmla="*/ 1238 h 78295"/>
                  <a:gd name="connsiteX2" fmla="*/ 16826 w 124246"/>
                  <a:gd name="connsiteY2" fmla="*/ 21527 h 78295"/>
                  <a:gd name="connsiteX3" fmla="*/ 17016 w 124246"/>
                  <a:gd name="connsiteY3" fmla="*/ 21527 h 78295"/>
                  <a:gd name="connsiteX4" fmla="*/ 43824 w 124246"/>
                  <a:gd name="connsiteY4" fmla="*/ 0 h 78295"/>
                  <a:gd name="connsiteX5" fmla="*/ 70346 w 124246"/>
                  <a:gd name="connsiteY5" fmla="*/ 20288 h 78295"/>
                  <a:gd name="connsiteX6" fmla="*/ 70536 w 124246"/>
                  <a:gd name="connsiteY6" fmla="*/ 20288 h 78295"/>
                  <a:gd name="connsiteX7" fmla="*/ 97344 w 124246"/>
                  <a:gd name="connsiteY7" fmla="*/ 0 h 78295"/>
                  <a:gd name="connsiteX8" fmla="*/ 124246 w 124246"/>
                  <a:gd name="connsiteY8" fmla="*/ 29147 h 78295"/>
                  <a:gd name="connsiteX9" fmla="*/ 124246 w 124246"/>
                  <a:gd name="connsiteY9" fmla="*/ 78296 h 78295"/>
                  <a:gd name="connsiteX10" fmla="*/ 106755 w 124246"/>
                  <a:gd name="connsiteY10" fmla="*/ 78296 h 78295"/>
                  <a:gd name="connsiteX11" fmla="*/ 106755 w 124246"/>
                  <a:gd name="connsiteY11" fmla="*/ 33052 h 78295"/>
                  <a:gd name="connsiteX12" fmla="*/ 90879 w 124246"/>
                  <a:gd name="connsiteY12" fmla="*/ 14954 h 78295"/>
                  <a:gd name="connsiteX13" fmla="*/ 70916 w 124246"/>
                  <a:gd name="connsiteY13" fmla="*/ 40100 h 78295"/>
                  <a:gd name="connsiteX14" fmla="*/ 70916 w 124246"/>
                  <a:gd name="connsiteY14" fmla="*/ 78296 h 78295"/>
                  <a:gd name="connsiteX15" fmla="*/ 53425 w 124246"/>
                  <a:gd name="connsiteY15" fmla="*/ 78296 h 78295"/>
                  <a:gd name="connsiteX16" fmla="*/ 53425 w 124246"/>
                  <a:gd name="connsiteY16" fmla="*/ 32766 h 78295"/>
                  <a:gd name="connsiteX17" fmla="*/ 37264 w 124246"/>
                  <a:gd name="connsiteY17" fmla="*/ 14954 h 78295"/>
                  <a:gd name="connsiteX18" fmla="*/ 17491 w 124246"/>
                  <a:gd name="connsiteY18" fmla="*/ 40672 h 78295"/>
                  <a:gd name="connsiteX19" fmla="*/ 17491 w 124246"/>
                  <a:gd name="connsiteY19" fmla="*/ 78296 h 78295"/>
                  <a:gd name="connsiteX20" fmla="*/ 0 w 124246"/>
                  <a:gd name="connsiteY20" fmla="*/ 78296 h 78295"/>
                  <a:gd name="connsiteX21" fmla="*/ 0 w 124246"/>
                  <a:gd name="connsiteY21" fmla="*/ 1238 h 78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4246" h="78295">
                    <a:moveTo>
                      <a:pt x="0" y="1238"/>
                    </a:moveTo>
                    <a:lnTo>
                      <a:pt x="17491" y="1238"/>
                    </a:lnTo>
                    <a:lnTo>
                      <a:pt x="16826" y="21527"/>
                    </a:lnTo>
                    <a:lnTo>
                      <a:pt x="17016" y="21527"/>
                    </a:lnTo>
                    <a:cubicBezTo>
                      <a:pt x="20438" y="8287"/>
                      <a:pt x="29754" y="0"/>
                      <a:pt x="43824" y="0"/>
                    </a:cubicBezTo>
                    <a:cubicBezTo>
                      <a:pt x="58748" y="0"/>
                      <a:pt x="68445" y="7810"/>
                      <a:pt x="70346" y="20288"/>
                    </a:cubicBezTo>
                    <a:lnTo>
                      <a:pt x="70536" y="20288"/>
                    </a:lnTo>
                    <a:cubicBezTo>
                      <a:pt x="73293" y="7810"/>
                      <a:pt x="82704" y="0"/>
                      <a:pt x="97344" y="0"/>
                    </a:cubicBezTo>
                    <a:cubicBezTo>
                      <a:pt x="114455" y="0"/>
                      <a:pt x="124246" y="11049"/>
                      <a:pt x="124246" y="29147"/>
                    </a:cubicBezTo>
                    <a:lnTo>
                      <a:pt x="124246" y="78296"/>
                    </a:lnTo>
                    <a:lnTo>
                      <a:pt x="106755" y="78296"/>
                    </a:lnTo>
                    <a:lnTo>
                      <a:pt x="106755" y="33052"/>
                    </a:lnTo>
                    <a:cubicBezTo>
                      <a:pt x="106755" y="21812"/>
                      <a:pt x="101336" y="14954"/>
                      <a:pt x="90879" y="14954"/>
                    </a:cubicBezTo>
                    <a:cubicBezTo>
                      <a:pt x="78711" y="14954"/>
                      <a:pt x="70916" y="24003"/>
                      <a:pt x="70916" y="40100"/>
                    </a:cubicBezTo>
                    <a:lnTo>
                      <a:pt x="70916" y="78296"/>
                    </a:lnTo>
                    <a:lnTo>
                      <a:pt x="53425" y="78296"/>
                    </a:lnTo>
                    <a:lnTo>
                      <a:pt x="53425" y="32766"/>
                    </a:lnTo>
                    <a:cubicBezTo>
                      <a:pt x="53425" y="21812"/>
                      <a:pt x="47626" y="14954"/>
                      <a:pt x="37264" y="14954"/>
                    </a:cubicBezTo>
                    <a:cubicBezTo>
                      <a:pt x="25382" y="14954"/>
                      <a:pt x="17491" y="24194"/>
                      <a:pt x="17491" y="40672"/>
                    </a:cubicBezTo>
                    <a:lnTo>
                      <a:pt x="17491" y="78296"/>
                    </a:lnTo>
                    <a:lnTo>
                      <a:pt x="0" y="78296"/>
                    </a:lnTo>
                    <a:lnTo>
                      <a:pt x="0" y="1238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39" name="Freeform 39">
                <a:extLst>
                  <a:ext uri="{FF2B5EF4-FFF2-40B4-BE49-F238E27FC236}">
                    <a16:creationId xmlns:a16="http://schemas.microsoft.com/office/drawing/2014/main" id="{BCB379F9-4F1C-2D5E-B01B-E88654350561}"/>
                  </a:ext>
                </a:extLst>
              </p:cNvPr>
              <p:cNvSpPr/>
              <p:nvPr/>
            </p:nvSpPr>
            <p:spPr>
              <a:xfrm>
                <a:off x="6819708" y="3879818"/>
                <a:ext cx="17871" cy="103250"/>
              </a:xfrm>
              <a:custGeom>
                <a:avLst/>
                <a:gdLst>
                  <a:gd name="connsiteX0" fmla="*/ 0 w 17871"/>
                  <a:gd name="connsiteY0" fmla="*/ 0 h 103250"/>
                  <a:gd name="connsiteX1" fmla="*/ 17872 w 17871"/>
                  <a:gd name="connsiteY1" fmla="*/ 0 h 103250"/>
                  <a:gd name="connsiteX2" fmla="*/ 17872 w 17871"/>
                  <a:gd name="connsiteY2" fmla="*/ 17145 h 103250"/>
                  <a:gd name="connsiteX3" fmla="*/ 0 w 17871"/>
                  <a:gd name="connsiteY3" fmla="*/ 17145 h 103250"/>
                  <a:gd name="connsiteX4" fmla="*/ 0 w 17871"/>
                  <a:gd name="connsiteY4" fmla="*/ 0 h 103250"/>
                  <a:gd name="connsiteX5" fmla="*/ 190 w 17871"/>
                  <a:gd name="connsiteY5" fmla="*/ 26194 h 103250"/>
                  <a:gd name="connsiteX6" fmla="*/ 17682 w 17871"/>
                  <a:gd name="connsiteY6" fmla="*/ 26194 h 103250"/>
                  <a:gd name="connsiteX7" fmla="*/ 17682 w 17871"/>
                  <a:gd name="connsiteY7" fmla="*/ 103251 h 103250"/>
                  <a:gd name="connsiteX8" fmla="*/ 190 w 17871"/>
                  <a:gd name="connsiteY8" fmla="*/ 103251 h 103250"/>
                  <a:gd name="connsiteX9" fmla="*/ 190 w 17871"/>
                  <a:gd name="connsiteY9" fmla="*/ 26194 h 10325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7871" h="103250">
                    <a:moveTo>
                      <a:pt x="0" y="0"/>
                    </a:moveTo>
                    <a:lnTo>
                      <a:pt x="17872" y="0"/>
                    </a:lnTo>
                    <a:lnTo>
                      <a:pt x="17872" y="17145"/>
                    </a:lnTo>
                    <a:lnTo>
                      <a:pt x="0" y="17145"/>
                    </a:lnTo>
                    <a:lnTo>
                      <a:pt x="0" y="0"/>
                    </a:lnTo>
                    <a:close/>
                    <a:moveTo>
                      <a:pt x="190" y="26194"/>
                    </a:moveTo>
                    <a:lnTo>
                      <a:pt x="17682" y="26194"/>
                    </a:lnTo>
                    <a:lnTo>
                      <a:pt x="17682" y="103251"/>
                    </a:lnTo>
                    <a:lnTo>
                      <a:pt x="190" y="103251"/>
                    </a:lnTo>
                    <a:lnTo>
                      <a:pt x="190" y="26194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40" name="Freeform 40">
                <a:extLst>
                  <a:ext uri="{FF2B5EF4-FFF2-40B4-BE49-F238E27FC236}">
                    <a16:creationId xmlns:a16="http://schemas.microsoft.com/office/drawing/2014/main" id="{AD7E26AB-0D70-DBF0-838B-CC34D06E20F5}"/>
                  </a:ext>
                </a:extLst>
              </p:cNvPr>
              <p:cNvSpPr/>
              <p:nvPr/>
            </p:nvSpPr>
            <p:spPr>
              <a:xfrm>
                <a:off x="6855546" y="3904773"/>
                <a:ext cx="80612" cy="78390"/>
              </a:xfrm>
              <a:custGeom>
                <a:avLst/>
                <a:gdLst>
                  <a:gd name="connsiteX0" fmla="*/ 0 w 80612"/>
                  <a:gd name="connsiteY0" fmla="*/ 1238 h 78390"/>
                  <a:gd name="connsiteX1" fmla="*/ 17492 w 80612"/>
                  <a:gd name="connsiteY1" fmla="*/ 1238 h 78390"/>
                  <a:gd name="connsiteX2" fmla="*/ 16826 w 80612"/>
                  <a:gd name="connsiteY2" fmla="*/ 21812 h 78390"/>
                  <a:gd name="connsiteX3" fmla="*/ 17016 w 80612"/>
                  <a:gd name="connsiteY3" fmla="*/ 21812 h 78390"/>
                  <a:gd name="connsiteX4" fmla="*/ 49147 w 80612"/>
                  <a:gd name="connsiteY4" fmla="*/ 0 h 78390"/>
                  <a:gd name="connsiteX5" fmla="*/ 80613 w 80612"/>
                  <a:gd name="connsiteY5" fmla="*/ 30099 h 78390"/>
                  <a:gd name="connsiteX6" fmla="*/ 80613 w 80612"/>
                  <a:gd name="connsiteY6" fmla="*/ 78296 h 78390"/>
                  <a:gd name="connsiteX7" fmla="*/ 63121 w 80612"/>
                  <a:gd name="connsiteY7" fmla="*/ 78296 h 78390"/>
                  <a:gd name="connsiteX8" fmla="*/ 63121 w 80612"/>
                  <a:gd name="connsiteY8" fmla="*/ 34004 h 78390"/>
                  <a:gd name="connsiteX9" fmla="*/ 42398 w 80612"/>
                  <a:gd name="connsiteY9" fmla="*/ 14954 h 78390"/>
                  <a:gd name="connsiteX10" fmla="*/ 17492 w 80612"/>
                  <a:gd name="connsiteY10" fmla="*/ 41053 h 78390"/>
                  <a:gd name="connsiteX11" fmla="*/ 17492 w 80612"/>
                  <a:gd name="connsiteY11" fmla="*/ 78391 h 78390"/>
                  <a:gd name="connsiteX12" fmla="*/ 0 w 80612"/>
                  <a:gd name="connsiteY12" fmla="*/ 78391 h 78390"/>
                  <a:gd name="connsiteX13" fmla="*/ 0 w 80612"/>
                  <a:gd name="connsiteY13" fmla="*/ 1333 h 783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80612" h="78390">
                    <a:moveTo>
                      <a:pt x="0" y="1238"/>
                    </a:moveTo>
                    <a:lnTo>
                      <a:pt x="17492" y="1238"/>
                    </a:lnTo>
                    <a:lnTo>
                      <a:pt x="16826" y="21812"/>
                    </a:lnTo>
                    <a:lnTo>
                      <a:pt x="17016" y="21812"/>
                    </a:lnTo>
                    <a:cubicBezTo>
                      <a:pt x="21199" y="7906"/>
                      <a:pt x="31180" y="0"/>
                      <a:pt x="49147" y="0"/>
                    </a:cubicBezTo>
                    <a:cubicBezTo>
                      <a:pt x="68635" y="0"/>
                      <a:pt x="80613" y="11049"/>
                      <a:pt x="80613" y="30099"/>
                    </a:cubicBezTo>
                    <a:lnTo>
                      <a:pt x="80613" y="78296"/>
                    </a:lnTo>
                    <a:lnTo>
                      <a:pt x="63121" y="78296"/>
                    </a:lnTo>
                    <a:lnTo>
                      <a:pt x="63121" y="34004"/>
                    </a:lnTo>
                    <a:cubicBezTo>
                      <a:pt x="63121" y="21812"/>
                      <a:pt x="56277" y="14954"/>
                      <a:pt x="42398" y="14954"/>
                    </a:cubicBezTo>
                    <a:cubicBezTo>
                      <a:pt x="27093" y="14954"/>
                      <a:pt x="17492" y="24194"/>
                      <a:pt x="17492" y="41053"/>
                    </a:cubicBezTo>
                    <a:lnTo>
                      <a:pt x="17492" y="78391"/>
                    </a:lnTo>
                    <a:lnTo>
                      <a:pt x="0" y="78391"/>
                    </a:lnTo>
                    <a:lnTo>
                      <a:pt x="0" y="1333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41" name="Freeform 41">
                <a:extLst>
                  <a:ext uri="{FF2B5EF4-FFF2-40B4-BE49-F238E27FC236}">
                    <a16:creationId xmlns:a16="http://schemas.microsoft.com/office/drawing/2014/main" id="{3F84DA9E-E7D5-1416-73C2-79836D609BEF}"/>
                  </a:ext>
                </a:extLst>
              </p:cNvPr>
              <p:cNvSpPr/>
              <p:nvPr/>
            </p:nvSpPr>
            <p:spPr>
              <a:xfrm>
                <a:off x="6950133" y="3890581"/>
                <a:ext cx="82133" cy="125730"/>
              </a:xfrm>
              <a:custGeom>
                <a:avLst/>
                <a:gdLst>
                  <a:gd name="connsiteX0" fmla="*/ 82039 w 82133"/>
                  <a:gd name="connsiteY0" fmla="*/ 99822 h 125730"/>
                  <a:gd name="connsiteX1" fmla="*/ 41542 w 82133"/>
                  <a:gd name="connsiteY1" fmla="*/ 125730 h 125730"/>
                  <a:gd name="connsiteX2" fmla="*/ 0 w 82133"/>
                  <a:gd name="connsiteY2" fmla="*/ 103918 h 125730"/>
                  <a:gd name="connsiteX3" fmla="*/ 14925 w 82133"/>
                  <a:gd name="connsiteY3" fmla="*/ 89916 h 125730"/>
                  <a:gd name="connsiteX4" fmla="*/ 14925 w 82133"/>
                  <a:gd name="connsiteY4" fmla="*/ 89725 h 125730"/>
                  <a:gd name="connsiteX5" fmla="*/ 8175 w 82133"/>
                  <a:gd name="connsiteY5" fmla="*/ 77057 h 125730"/>
                  <a:gd name="connsiteX6" fmla="*/ 15305 w 82133"/>
                  <a:gd name="connsiteY6" fmla="*/ 63913 h 125730"/>
                  <a:gd name="connsiteX7" fmla="*/ 15305 w 82133"/>
                  <a:gd name="connsiteY7" fmla="*/ 63627 h 125730"/>
                  <a:gd name="connsiteX8" fmla="*/ 3422 w 82133"/>
                  <a:gd name="connsiteY8" fmla="*/ 41624 h 125730"/>
                  <a:gd name="connsiteX9" fmla="*/ 37740 w 82133"/>
                  <a:gd name="connsiteY9" fmla="*/ 14192 h 125730"/>
                  <a:gd name="connsiteX10" fmla="*/ 59224 w 82133"/>
                  <a:gd name="connsiteY10" fmla="*/ 19145 h 125730"/>
                  <a:gd name="connsiteX11" fmla="*/ 59414 w 82133"/>
                  <a:gd name="connsiteY11" fmla="*/ 18955 h 125730"/>
                  <a:gd name="connsiteX12" fmla="*/ 55706 w 82133"/>
                  <a:gd name="connsiteY12" fmla="*/ 10192 h 125730"/>
                  <a:gd name="connsiteX13" fmla="*/ 70821 w 82133"/>
                  <a:gd name="connsiteY13" fmla="*/ 0 h 125730"/>
                  <a:gd name="connsiteX14" fmla="*/ 78616 w 82133"/>
                  <a:gd name="connsiteY14" fmla="*/ 762 h 125730"/>
                  <a:gd name="connsiteX15" fmla="*/ 78616 w 82133"/>
                  <a:gd name="connsiteY15" fmla="*/ 13049 h 125730"/>
                  <a:gd name="connsiteX16" fmla="*/ 73483 w 82133"/>
                  <a:gd name="connsiteY16" fmla="*/ 12287 h 125730"/>
                  <a:gd name="connsiteX17" fmla="*/ 65878 w 82133"/>
                  <a:gd name="connsiteY17" fmla="*/ 18669 h 125730"/>
                  <a:gd name="connsiteX18" fmla="*/ 67589 w 82133"/>
                  <a:gd name="connsiteY18" fmla="*/ 26479 h 125730"/>
                  <a:gd name="connsiteX19" fmla="*/ 72152 w 82133"/>
                  <a:gd name="connsiteY19" fmla="*/ 41434 h 125730"/>
                  <a:gd name="connsiteX20" fmla="*/ 37930 w 82133"/>
                  <a:gd name="connsiteY20" fmla="*/ 68866 h 125730"/>
                  <a:gd name="connsiteX21" fmla="*/ 24336 w 82133"/>
                  <a:gd name="connsiteY21" fmla="*/ 67151 h 125730"/>
                  <a:gd name="connsiteX22" fmla="*/ 22435 w 82133"/>
                  <a:gd name="connsiteY22" fmla="*/ 73057 h 125730"/>
                  <a:gd name="connsiteX23" fmla="*/ 31180 w 82133"/>
                  <a:gd name="connsiteY23" fmla="*/ 80105 h 125730"/>
                  <a:gd name="connsiteX24" fmla="*/ 56087 w 82133"/>
                  <a:gd name="connsiteY24" fmla="*/ 80105 h 125730"/>
                  <a:gd name="connsiteX25" fmla="*/ 82134 w 82133"/>
                  <a:gd name="connsiteY25" fmla="*/ 99631 h 125730"/>
                  <a:gd name="connsiteX26" fmla="*/ 64547 w 82133"/>
                  <a:gd name="connsiteY26" fmla="*/ 101822 h 125730"/>
                  <a:gd name="connsiteX27" fmla="*/ 52379 w 82133"/>
                  <a:gd name="connsiteY27" fmla="*/ 93821 h 125730"/>
                  <a:gd name="connsiteX28" fmla="*/ 31466 w 82133"/>
                  <a:gd name="connsiteY28" fmla="*/ 93821 h 125730"/>
                  <a:gd name="connsiteX29" fmla="*/ 17111 w 82133"/>
                  <a:gd name="connsiteY29" fmla="*/ 102394 h 125730"/>
                  <a:gd name="connsiteX30" fmla="*/ 41257 w 82133"/>
                  <a:gd name="connsiteY30" fmla="*/ 113348 h 125730"/>
                  <a:gd name="connsiteX31" fmla="*/ 64452 w 82133"/>
                  <a:gd name="connsiteY31" fmla="*/ 101822 h 125730"/>
                  <a:gd name="connsiteX32" fmla="*/ 20153 w 82133"/>
                  <a:gd name="connsiteY32" fmla="*/ 41624 h 125730"/>
                  <a:gd name="connsiteX33" fmla="*/ 37740 w 82133"/>
                  <a:gd name="connsiteY33" fmla="*/ 56579 h 125730"/>
                  <a:gd name="connsiteX34" fmla="*/ 55326 w 82133"/>
                  <a:gd name="connsiteY34" fmla="*/ 41624 h 125730"/>
                  <a:gd name="connsiteX35" fmla="*/ 37740 w 82133"/>
                  <a:gd name="connsiteY35" fmla="*/ 26670 h 125730"/>
                  <a:gd name="connsiteX36" fmla="*/ 20153 w 82133"/>
                  <a:gd name="connsiteY36" fmla="*/ 41624 h 1257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</a:cxnLst>
                <a:rect l="l" t="t" r="r" b="b"/>
                <a:pathLst>
                  <a:path w="82133" h="125730">
                    <a:moveTo>
                      <a:pt x="82039" y="99822"/>
                    </a:moveTo>
                    <a:cubicBezTo>
                      <a:pt x="82039" y="116015"/>
                      <a:pt x="66924" y="125730"/>
                      <a:pt x="41542" y="125730"/>
                    </a:cubicBezTo>
                    <a:cubicBezTo>
                      <a:pt x="16160" y="125730"/>
                      <a:pt x="0" y="117729"/>
                      <a:pt x="0" y="103918"/>
                    </a:cubicBezTo>
                    <a:cubicBezTo>
                      <a:pt x="0" y="96107"/>
                      <a:pt x="5799" y="90297"/>
                      <a:pt x="14925" y="89916"/>
                    </a:cubicBezTo>
                    <a:lnTo>
                      <a:pt x="14925" y="89725"/>
                    </a:lnTo>
                    <a:cubicBezTo>
                      <a:pt x="10552" y="86773"/>
                      <a:pt x="8175" y="82582"/>
                      <a:pt x="8175" y="77057"/>
                    </a:cubicBezTo>
                    <a:cubicBezTo>
                      <a:pt x="8175" y="70485"/>
                      <a:pt x="11122" y="66008"/>
                      <a:pt x="15305" y="63913"/>
                    </a:cubicBezTo>
                    <a:lnTo>
                      <a:pt x="15305" y="63627"/>
                    </a:lnTo>
                    <a:cubicBezTo>
                      <a:pt x="7700" y="58960"/>
                      <a:pt x="3422" y="51340"/>
                      <a:pt x="3422" y="41624"/>
                    </a:cubicBezTo>
                    <a:cubicBezTo>
                      <a:pt x="3422" y="24765"/>
                      <a:pt x="16541" y="14192"/>
                      <a:pt x="37740" y="14192"/>
                    </a:cubicBezTo>
                    <a:cubicBezTo>
                      <a:pt x="46485" y="14192"/>
                      <a:pt x="53615" y="15907"/>
                      <a:pt x="59224" y="19145"/>
                    </a:cubicBezTo>
                    <a:lnTo>
                      <a:pt x="59414" y="18955"/>
                    </a:lnTo>
                    <a:cubicBezTo>
                      <a:pt x="57037" y="16478"/>
                      <a:pt x="55706" y="13525"/>
                      <a:pt x="55706" y="10192"/>
                    </a:cubicBezTo>
                    <a:cubicBezTo>
                      <a:pt x="55706" y="3905"/>
                      <a:pt x="61600" y="0"/>
                      <a:pt x="70821" y="0"/>
                    </a:cubicBezTo>
                    <a:cubicBezTo>
                      <a:pt x="74529" y="0"/>
                      <a:pt x="76715" y="286"/>
                      <a:pt x="78616" y="762"/>
                    </a:cubicBezTo>
                    <a:lnTo>
                      <a:pt x="78616" y="13049"/>
                    </a:lnTo>
                    <a:cubicBezTo>
                      <a:pt x="77380" y="12573"/>
                      <a:pt x="75669" y="12287"/>
                      <a:pt x="73483" y="12287"/>
                    </a:cubicBezTo>
                    <a:cubicBezTo>
                      <a:pt x="68350" y="12287"/>
                      <a:pt x="65878" y="14478"/>
                      <a:pt x="65878" y="18669"/>
                    </a:cubicBezTo>
                    <a:cubicBezTo>
                      <a:pt x="65878" y="20860"/>
                      <a:pt x="66638" y="23527"/>
                      <a:pt x="67589" y="26479"/>
                    </a:cubicBezTo>
                    <a:cubicBezTo>
                      <a:pt x="70536" y="30575"/>
                      <a:pt x="72152" y="35719"/>
                      <a:pt x="72152" y="41434"/>
                    </a:cubicBezTo>
                    <a:cubicBezTo>
                      <a:pt x="72152" y="58483"/>
                      <a:pt x="59034" y="68866"/>
                      <a:pt x="37930" y="68866"/>
                    </a:cubicBezTo>
                    <a:cubicBezTo>
                      <a:pt x="32987" y="68866"/>
                      <a:pt x="28423" y="68199"/>
                      <a:pt x="24336" y="67151"/>
                    </a:cubicBezTo>
                    <a:cubicBezTo>
                      <a:pt x="23385" y="68199"/>
                      <a:pt x="22435" y="70390"/>
                      <a:pt x="22435" y="73057"/>
                    </a:cubicBezTo>
                    <a:cubicBezTo>
                      <a:pt x="22435" y="77438"/>
                      <a:pt x="25572" y="80105"/>
                      <a:pt x="31180" y="80105"/>
                    </a:cubicBezTo>
                    <a:lnTo>
                      <a:pt x="56087" y="80105"/>
                    </a:lnTo>
                    <a:cubicBezTo>
                      <a:pt x="72627" y="80105"/>
                      <a:pt x="82134" y="87249"/>
                      <a:pt x="82134" y="99631"/>
                    </a:cubicBezTo>
                    <a:close/>
                    <a:moveTo>
                      <a:pt x="64547" y="101822"/>
                    </a:moveTo>
                    <a:cubicBezTo>
                      <a:pt x="64547" y="96679"/>
                      <a:pt x="60650" y="93821"/>
                      <a:pt x="52379" y="93821"/>
                    </a:cubicBezTo>
                    <a:lnTo>
                      <a:pt x="31466" y="93821"/>
                    </a:lnTo>
                    <a:cubicBezTo>
                      <a:pt x="22720" y="93821"/>
                      <a:pt x="17111" y="96488"/>
                      <a:pt x="17111" y="102394"/>
                    </a:cubicBezTo>
                    <a:cubicBezTo>
                      <a:pt x="17111" y="109728"/>
                      <a:pt x="26427" y="113348"/>
                      <a:pt x="41257" y="113348"/>
                    </a:cubicBezTo>
                    <a:cubicBezTo>
                      <a:pt x="57608" y="113348"/>
                      <a:pt x="64452" y="108680"/>
                      <a:pt x="64452" y="101822"/>
                    </a:cubicBezTo>
                    <a:close/>
                    <a:moveTo>
                      <a:pt x="20153" y="41624"/>
                    </a:moveTo>
                    <a:cubicBezTo>
                      <a:pt x="20153" y="50864"/>
                      <a:pt x="26902" y="56579"/>
                      <a:pt x="37740" y="56579"/>
                    </a:cubicBezTo>
                    <a:cubicBezTo>
                      <a:pt x="48577" y="56579"/>
                      <a:pt x="55326" y="50768"/>
                      <a:pt x="55326" y="41624"/>
                    </a:cubicBezTo>
                    <a:cubicBezTo>
                      <a:pt x="55326" y="32480"/>
                      <a:pt x="48672" y="26670"/>
                      <a:pt x="37740" y="26670"/>
                    </a:cubicBezTo>
                    <a:cubicBezTo>
                      <a:pt x="26808" y="26670"/>
                      <a:pt x="20153" y="32480"/>
                      <a:pt x="20153" y="41624"/>
                    </a:cubicBez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42" name="Freeform 42">
                <a:extLst>
                  <a:ext uri="{FF2B5EF4-FFF2-40B4-BE49-F238E27FC236}">
                    <a16:creationId xmlns:a16="http://schemas.microsoft.com/office/drawing/2014/main" id="{BF980F22-BEF2-C107-762F-CA815A92C475}"/>
                  </a:ext>
                </a:extLst>
              </p:cNvPr>
              <p:cNvSpPr/>
              <p:nvPr/>
            </p:nvSpPr>
            <p:spPr>
              <a:xfrm>
                <a:off x="7081699" y="3904773"/>
                <a:ext cx="124246" cy="78295"/>
              </a:xfrm>
              <a:custGeom>
                <a:avLst/>
                <a:gdLst>
                  <a:gd name="connsiteX0" fmla="*/ 0 w 124246"/>
                  <a:gd name="connsiteY0" fmla="*/ 1238 h 78295"/>
                  <a:gd name="connsiteX1" fmla="*/ 17491 w 124246"/>
                  <a:gd name="connsiteY1" fmla="*/ 1238 h 78295"/>
                  <a:gd name="connsiteX2" fmla="*/ 16826 w 124246"/>
                  <a:gd name="connsiteY2" fmla="*/ 21527 h 78295"/>
                  <a:gd name="connsiteX3" fmla="*/ 17016 w 124246"/>
                  <a:gd name="connsiteY3" fmla="*/ 21527 h 78295"/>
                  <a:gd name="connsiteX4" fmla="*/ 43824 w 124246"/>
                  <a:gd name="connsiteY4" fmla="*/ 0 h 78295"/>
                  <a:gd name="connsiteX5" fmla="*/ 70346 w 124246"/>
                  <a:gd name="connsiteY5" fmla="*/ 20288 h 78295"/>
                  <a:gd name="connsiteX6" fmla="*/ 70536 w 124246"/>
                  <a:gd name="connsiteY6" fmla="*/ 20288 h 78295"/>
                  <a:gd name="connsiteX7" fmla="*/ 97344 w 124246"/>
                  <a:gd name="connsiteY7" fmla="*/ 0 h 78295"/>
                  <a:gd name="connsiteX8" fmla="*/ 124246 w 124246"/>
                  <a:gd name="connsiteY8" fmla="*/ 29147 h 78295"/>
                  <a:gd name="connsiteX9" fmla="*/ 124246 w 124246"/>
                  <a:gd name="connsiteY9" fmla="*/ 78296 h 78295"/>
                  <a:gd name="connsiteX10" fmla="*/ 106755 w 124246"/>
                  <a:gd name="connsiteY10" fmla="*/ 78296 h 78295"/>
                  <a:gd name="connsiteX11" fmla="*/ 106755 w 124246"/>
                  <a:gd name="connsiteY11" fmla="*/ 33052 h 78295"/>
                  <a:gd name="connsiteX12" fmla="*/ 90879 w 124246"/>
                  <a:gd name="connsiteY12" fmla="*/ 14954 h 78295"/>
                  <a:gd name="connsiteX13" fmla="*/ 70916 w 124246"/>
                  <a:gd name="connsiteY13" fmla="*/ 40100 h 78295"/>
                  <a:gd name="connsiteX14" fmla="*/ 70916 w 124246"/>
                  <a:gd name="connsiteY14" fmla="*/ 78296 h 78295"/>
                  <a:gd name="connsiteX15" fmla="*/ 53425 w 124246"/>
                  <a:gd name="connsiteY15" fmla="*/ 78296 h 78295"/>
                  <a:gd name="connsiteX16" fmla="*/ 53425 w 124246"/>
                  <a:gd name="connsiteY16" fmla="*/ 32766 h 78295"/>
                  <a:gd name="connsiteX17" fmla="*/ 37264 w 124246"/>
                  <a:gd name="connsiteY17" fmla="*/ 14954 h 78295"/>
                  <a:gd name="connsiteX18" fmla="*/ 17491 w 124246"/>
                  <a:gd name="connsiteY18" fmla="*/ 40672 h 78295"/>
                  <a:gd name="connsiteX19" fmla="*/ 17491 w 124246"/>
                  <a:gd name="connsiteY19" fmla="*/ 78296 h 78295"/>
                  <a:gd name="connsiteX20" fmla="*/ 0 w 124246"/>
                  <a:gd name="connsiteY20" fmla="*/ 78296 h 78295"/>
                  <a:gd name="connsiteX21" fmla="*/ 0 w 124246"/>
                  <a:gd name="connsiteY21" fmla="*/ 1238 h 78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24246" h="78295">
                    <a:moveTo>
                      <a:pt x="0" y="1238"/>
                    </a:moveTo>
                    <a:lnTo>
                      <a:pt x="17491" y="1238"/>
                    </a:lnTo>
                    <a:lnTo>
                      <a:pt x="16826" y="21527"/>
                    </a:lnTo>
                    <a:lnTo>
                      <a:pt x="17016" y="21527"/>
                    </a:lnTo>
                    <a:cubicBezTo>
                      <a:pt x="20438" y="8287"/>
                      <a:pt x="29754" y="0"/>
                      <a:pt x="43824" y="0"/>
                    </a:cubicBezTo>
                    <a:cubicBezTo>
                      <a:pt x="58748" y="0"/>
                      <a:pt x="68445" y="7810"/>
                      <a:pt x="70346" y="20288"/>
                    </a:cubicBezTo>
                    <a:lnTo>
                      <a:pt x="70536" y="20288"/>
                    </a:lnTo>
                    <a:cubicBezTo>
                      <a:pt x="73388" y="7810"/>
                      <a:pt x="82704" y="0"/>
                      <a:pt x="97344" y="0"/>
                    </a:cubicBezTo>
                    <a:cubicBezTo>
                      <a:pt x="114455" y="0"/>
                      <a:pt x="124246" y="11049"/>
                      <a:pt x="124246" y="29147"/>
                    </a:cubicBezTo>
                    <a:lnTo>
                      <a:pt x="124246" y="78296"/>
                    </a:lnTo>
                    <a:lnTo>
                      <a:pt x="106755" y="78296"/>
                    </a:lnTo>
                    <a:lnTo>
                      <a:pt x="106755" y="33052"/>
                    </a:lnTo>
                    <a:cubicBezTo>
                      <a:pt x="106755" y="21812"/>
                      <a:pt x="101336" y="14954"/>
                      <a:pt x="90879" y="14954"/>
                    </a:cubicBezTo>
                    <a:cubicBezTo>
                      <a:pt x="78711" y="14954"/>
                      <a:pt x="70916" y="24003"/>
                      <a:pt x="70916" y="40100"/>
                    </a:cubicBezTo>
                    <a:lnTo>
                      <a:pt x="70916" y="78296"/>
                    </a:lnTo>
                    <a:lnTo>
                      <a:pt x="53425" y="78296"/>
                    </a:lnTo>
                    <a:lnTo>
                      <a:pt x="53425" y="32766"/>
                    </a:lnTo>
                    <a:cubicBezTo>
                      <a:pt x="53425" y="21812"/>
                      <a:pt x="47626" y="14954"/>
                      <a:pt x="37264" y="14954"/>
                    </a:cubicBezTo>
                    <a:cubicBezTo>
                      <a:pt x="25381" y="14954"/>
                      <a:pt x="17491" y="24194"/>
                      <a:pt x="17491" y="40672"/>
                    </a:cubicBezTo>
                    <a:lnTo>
                      <a:pt x="17491" y="78296"/>
                    </a:lnTo>
                    <a:lnTo>
                      <a:pt x="0" y="78296"/>
                    </a:lnTo>
                    <a:lnTo>
                      <a:pt x="0" y="1238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43" name="Freeform 43">
                <a:extLst>
                  <a:ext uri="{FF2B5EF4-FFF2-40B4-BE49-F238E27FC236}">
                    <a16:creationId xmlns:a16="http://schemas.microsoft.com/office/drawing/2014/main" id="{FF86A35C-1EC7-6521-A200-B8380194F4FC}"/>
                  </a:ext>
                </a:extLst>
              </p:cNvPr>
              <p:cNvSpPr/>
              <p:nvPr/>
            </p:nvSpPr>
            <p:spPr>
              <a:xfrm>
                <a:off x="7220394" y="3904773"/>
                <a:ext cx="74813" cy="79533"/>
              </a:xfrm>
              <a:custGeom>
                <a:avLst/>
                <a:gdLst>
                  <a:gd name="connsiteX0" fmla="*/ 0 w 74813"/>
                  <a:gd name="connsiteY0" fmla="*/ 56198 h 79533"/>
                  <a:gd name="connsiteX1" fmla="*/ 28804 w 74813"/>
                  <a:gd name="connsiteY1" fmla="*/ 35243 h 79533"/>
                  <a:gd name="connsiteX2" fmla="*/ 57322 w 74813"/>
                  <a:gd name="connsiteY2" fmla="*/ 35243 h 79533"/>
                  <a:gd name="connsiteX3" fmla="*/ 57322 w 74813"/>
                  <a:gd name="connsiteY3" fmla="*/ 29813 h 79533"/>
                  <a:gd name="connsiteX4" fmla="*/ 37074 w 74813"/>
                  <a:gd name="connsiteY4" fmla="*/ 13145 h 79533"/>
                  <a:gd name="connsiteX5" fmla="*/ 18537 w 74813"/>
                  <a:gd name="connsiteY5" fmla="*/ 26289 h 79533"/>
                  <a:gd name="connsiteX6" fmla="*/ 18727 w 74813"/>
                  <a:gd name="connsiteY6" fmla="*/ 29242 h 79533"/>
                  <a:gd name="connsiteX7" fmla="*/ 2662 w 74813"/>
                  <a:gd name="connsiteY7" fmla="*/ 29242 h 79533"/>
                  <a:gd name="connsiteX8" fmla="*/ 2377 w 74813"/>
                  <a:gd name="connsiteY8" fmla="*/ 24670 h 79533"/>
                  <a:gd name="connsiteX9" fmla="*/ 37740 w 74813"/>
                  <a:gd name="connsiteY9" fmla="*/ 0 h 79533"/>
                  <a:gd name="connsiteX10" fmla="*/ 74814 w 74813"/>
                  <a:gd name="connsiteY10" fmla="*/ 31337 h 79533"/>
                  <a:gd name="connsiteX11" fmla="*/ 74814 w 74813"/>
                  <a:gd name="connsiteY11" fmla="*/ 78296 h 79533"/>
                  <a:gd name="connsiteX12" fmla="*/ 57322 w 74813"/>
                  <a:gd name="connsiteY12" fmla="*/ 78296 h 79533"/>
                  <a:gd name="connsiteX13" fmla="*/ 58083 w 74813"/>
                  <a:gd name="connsiteY13" fmla="*/ 61246 h 79533"/>
                  <a:gd name="connsiteX14" fmla="*/ 57893 w 74813"/>
                  <a:gd name="connsiteY14" fmla="*/ 61246 h 79533"/>
                  <a:gd name="connsiteX15" fmla="*/ 29279 w 74813"/>
                  <a:gd name="connsiteY15" fmla="*/ 79534 h 79533"/>
                  <a:gd name="connsiteX16" fmla="*/ 0 w 74813"/>
                  <a:gd name="connsiteY16" fmla="*/ 56102 h 79533"/>
                  <a:gd name="connsiteX17" fmla="*/ 57322 w 74813"/>
                  <a:gd name="connsiteY17" fmla="*/ 47339 h 79533"/>
                  <a:gd name="connsiteX18" fmla="*/ 57322 w 74813"/>
                  <a:gd name="connsiteY18" fmla="*/ 45910 h 79533"/>
                  <a:gd name="connsiteX19" fmla="*/ 30420 w 74813"/>
                  <a:gd name="connsiteY19" fmla="*/ 45910 h 79533"/>
                  <a:gd name="connsiteX20" fmla="*/ 16066 w 74813"/>
                  <a:gd name="connsiteY20" fmla="*/ 55435 h 79533"/>
                  <a:gd name="connsiteX21" fmla="*/ 32891 w 74813"/>
                  <a:gd name="connsiteY21" fmla="*/ 66485 h 79533"/>
                  <a:gd name="connsiteX22" fmla="*/ 57322 w 74813"/>
                  <a:gd name="connsiteY22" fmla="*/ 47244 h 79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</a:cxnLst>
                <a:rect l="l" t="t" r="r" b="b"/>
                <a:pathLst>
                  <a:path w="74813" h="79533">
                    <a:moveTo>
                      <a:pt x="0" y="56198"/>
                    </a:moveTo>
                    <a:cubicBezTo>
                      <a:pt x="0" y="44482"/>
                      <a:pt x="8270" y="35243"/>
                      <a:pt x="28804" y="35243"/>
                    </a:cubicBezTo>
                    <a:lnTo>
                      <a:pt x="57322" y="35243"/>
                    </a:lnTo>
                    <a:lnTo>
                      <a:pt x="57322" y="29813"/>
                    </a:lnTo>
                    <a:cubicBezTo>
                      <a:pt x="57322" y="18288"/>
                      <a:pt x="50668" y="13145"/>
                      <a:pt x="37074" y="13145"/>
                    </a:cubicBezTo>
                    <a:cubicBezTo>
                      <a:pt x="25287" y="13145"/>
                      <a:pt x="18537" y="17717"/>
                      <a:pt x="18537" y="26289"/>
                    </a:cubicBezTo>
                    <a:cubicBezTo>
                      <a:pt x="18537" y="26765"/>
                      <a:pt x="18537" y="28004"/>
                      <a:pt x="18727" y="29242"/>
                    </a:cubicBezTo>
                    <a:lnTo>
                      <a:pt x="2662" y="29242"/>
                    </a:lnTo>
                    <a:cubicBezTo>
                      <a:pt x="2472" y="28099"/>
                      <a:pt x="2377" y="26099"/>
                      <a:pt x="2377" y="24670"/>
                    </a:cubicBezTo>
                    <a:cubicBezTo>
                      <a:pt x="2377" y="9239"/>
                      <a:pt x="15780" y="0"/>
                      <a:pt x="37740" y="0"/>
                    </a:cubicBezTo>
                    <a:cubicBezTo>
                      <a:pt x="61125" y="0"/>
                      <a:pt x="74814" y="11049"/>
                      <a:pt x="74814" y="31337"/>
                    </a:cubicBezTo>
                    <a:lnTo>
                      <a:pt x="74814" y="78296"/>
                    </a:lnTo>
                    <a:lnTo>
                      <a:pt x="57322" y="78296"/>
                    </a:lnTo>
                    <a:cubicBezTo>
                      <a:pt x="57608" y="74581"/>
                      <a:pt x="58083" y="67532"/>
                      <a:pt x="58083" y="61246"/>
                    </a:cubicBezTo>
                    <a:lnTo>
                      <a:pt x="57893" y="61246"/>
                    </a:lnTo>
                    <a:cubicBezTo>
                      <a:pt x="55421" y="72676"/>
                      <a:pt x="46200" y="79534"/>
                      <a:pt x="29279" y="79534"/>
                    </a:cubicBezTo>
                    <a:cubicBezTo>
                      <a:pt x="12358" y="79534"/>
                      <a:pt x="0" y="71152"/>
                      <a:pt x="0" y="56102"/>
                    </a:cubicBezTo>
                    <a:close/>
                    <a:moveTo>
                      <a:pt x="57322" y="47339"/>
                    </a:moveTo>
                    <a:lnTo>
                      <a:pt x="57322" y="45910"/>
                    </a:lnTo>
                    <a:lnTo>
                      <a:pt x="30420" y="45910"/>
                    </a:lnTo>
                    <a:cubicBezTo>
                      <a:pt x="20438" y="45910"/>
                      <a:pt x="16066" y="49340"/>
                      <a:pt x="16066" y="55435"/>
                    </a:cubicBezTo>
                    <a:cubicBezTo>
                      <a:pt x="16066" y="62484"/>
                      <a:pt x="22340" y="66485"/>
                      <a:pt x="32891" y="66485"/>
                    </a:cubicBezTo>
                    <a:cubicBezTo>
                      <a:pt x="48006" y="66485"/>
                      <a:pt x="57322" y="59150"/>
                      <a:pt x="57322" y="47244"/>
                    </a:cubicBez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44" name="Freeform 44">
                <a:extLst>
                  <a:ext uri="{FF2B5EF4-FFF2-40B4-BE49-F238E27FC236}">
                    <a16:creationId xmlns:a16="http://schemas.microsoft.com/office/drawing/2014/main" id="{ED713FE6-5C94-CA15-6308-8885DB331322}"/>
                  </a:ext>
                </a:extLst>
              </p:cNvPr>
              <p:cNvSpPr/>
              <p:nvPr/>
            </p:nvSpPr>
            <p:spPr>
              <a:xfrm>
                <a:off x="7311844" y="3904773"/>
                <a:ext cx="70251" cy="78295"/>
              </a:xfrm>
              <a:custGeom>
                <a:avLst/>
                <a:gdLst>
                  <a:gd name="connsiteX0" fmla="*/ 0 w 70251"/>
                  <a:gd name="connsiteY0" fmla="*/ 1238 h 78295"/>
                  <a:gd name="connsiteX1" fmla="*/ 17491 w 70251"/>
                  <a:gd name="connsiteY1" fmla="*/ 1238 h 78295"/>
                  <a:gd name="connsiteX2" fmla="*/ 16826 w 70251"/>
                  <a:gd name="connsiteY2" fmla="*/ 23432 h 78295"/>
                  <a:gd name="connsiteX3" fmla="*/ 17016 w 70251"/>
                  <a:gd name="connsiteY3" fmla="*/ 23432 h 78295"/>
                  <a:gd name="connsiteX4" fmla="*/ 44394 w 70251"/>
                  <a:gd name="connsiteY4" fmla="*/ 0 h 78295"/>
                  <a:gd name="connsiteX5" fmla="*/ 70251 w 70251"/>
                  <a:gd name="connsiteY5" fmla="*/ 30099 h 78295"/>
                  <a:gd name="connsiteX6" fmla="*/ 69490 w 70251"/>
                  <a:gd name="connsiteY6" fmla="*/ 44482 h 78295"/>
                  <a:gd name="connsiteX7" fmla="*/ 53615 w 70251"/>
                  <a:gd name="connsiteY7" fmla="*/ 44482 h 78295"/>
                  <a:gd name="connsiteX8" fmla="*/ 54280 w 70251"/>
                  <a:gd name="connsiteY8" fmla="*/ 34004 h 78295"/>
                  <a:gd name="connsiteX9" fmla="*/ 39071 w 70251"/>
                  <a:gd name="connsiteY9" fmla="*/ 14954 h 78295"/>
                  <a:gd name="connsiteX10" fmla="*/ 17587 w 70251"/>
                  <a:gd name="connsiteY10" fmla="*/ 44577 h 78295"/>
                  <a:gd name="connsiteX11" fmla="*/ 17587 w 70251"/>
                  <a:gd name="connsiteY11" fmla="*/ 78296 h 78295"/>
                  <a:gd name="connsiteX12" fmla="*/ 95 w 70251"/>
                  <a:gd name="connsiteY12" fmla="*/ 78296 h 78295"/>
                  <a:gd name="connsiteX13" fmla="*/ 95 w 70251"/>
                  <a:gd name="connsiteY13" fmla="*/ 1238 h 782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70251" h="78295">
                    <a:moveTo>
                      <a:pt x="0" y="1238"/>
                    </a:moveTo>
                    <a:lnTo>
                      <a:pt x="17491" y="1238"/>
                    </a:lnTo>
                    <a:lnTo>
                      <a:pt x="16826" y="23432"/>
                    </a:lnTo>
                    <a:lnTo>
                      <a:pt x="17016" y="23432"/>
                    </a:lnTo>
                    <a:cubicBezTo>
                      <a:pt x="20629" y="9525"/>
                      <a:pt x="28519" y="0"/>
                      <a:pt x="44394" y="0"/>
                    </a:cubicBezTo>
                    <a:cubicBezTo>
                      <a:pt x="61030" y="0"/>
                      <a:pt x="70251" y="10954"/>
                      <a:pt x="70251" y="30099"/>
                    </a:cubicBezTo>
                    <a:cubicBezTo>
                      <a:pt x="70251" y="34957"/>
                      <a:pt x="69776" y="41148"/>
                      <a:pt x="69490" y="44482"/>
                    </a:cubicBezTo>
                    <a:lnTo>
                      <a:pt x="53615" y="44482"/>
                    </a:lnTo>
                    <a:cubicBezTo>
                      <a:pt x="53900" y="41529"/>
                      <a:pt x="54280" y="37624"/>
                      <a:pt x="54280" y="34004"/>
                    </a:cubicBezTo>
                    <a:cubicBezTo>
                      <a:pt x="54280" y="21050"/>
                      <a:pt x="49337" y="14954"/>
                      <a:pt x="39071" y="14954"/>
                    </a:cubicBezTo>
                    <a:cubicBezTo>
                      <a:pt x="25857" y="14954"/>
                      <a:pt x="17587" y="26194"/>
                      <a:pt x="17587" y="44577"/>
                    </a:cubicBezTo>
                    <a:lnTo>
                      <a:pt x="17587" y="78296"/>
                    </a:lnTo>
                    <a:lnTo>
                      <a:pt x="95" y="78296"/>
                    </a:lnTo>
                    <a:lnTo>
                      <a:pt x="95" y="1238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45" name="Freeform 45">
                <a:extLst>
                  <a:ext uri="{FF2B5EF4-FFF2-40B4-BE49-F238E27FC236}">
                    <a16:creationId xmlns:a16="http://schemas.microsoft.com/office/drawing/2014/main" id="{396D193E-6C8F-2448-7E48-88005E77CDFA}"/>
                  </a:ext>
                </a:extLst>
              </p:cNvPr>
              <p:cNvSpPr/>
              <p:nvPr/>
            </p:nvSpPr>
            <p:spPr>
              <a:xfrm>
                <a:off x="7397495" y="3874865"/>
                <a:ext cx="83749" cy="108204"/>
              </a:xfrm>
              <a:custGeom>
                <a:avLst/>
                <a:gdLst>
                  <a:gd name="connsiteX0" fmla="*/ 0 w 83749"/>
                  <a:gd name="connsiteY0" fmla="*/ 95 h 108204"/>
                  <a:gd name="connsiteX1" fmla="*/ 17491 w 83749"/>
                  <a:gd name="connsiteY1" fmla="*/ 95 h 108204"/>
                  <a:gd name="connsiteX2" fmla="*/ 17491 w 83749"/>
                  <a:gd name="connsiteY2" fmla="*/ 71533 h 108204"/>
                  <a:gd name="connsiteX3" fmla="*/ 17681 w 83749"/>
                  <a:gd name="connsiteY3" fmla="*/ 71533 h 108204"/>
                  <a:gd name="connsiteX4" fmla="*/ 59129 w 83749"/>
                  <a:gd name="connsiteY4" fmla="*/ 31147 h 108204"/>
                  <a:gd name="connsiteX5" fmla="*/ 81753 w 83749"/>
                  <a:gd name="connsiteY5" fmla="*/ 31147 h 108204"/>
                  <a:gd name="connsiteX6" fmla="*/ 45725 w 83749"/>
                  <a:gd name="connsiteY6" fmla="*/ 64675 h 108204"/>
                  <a:gd name="connsiteX7" fmla="*/ 83750 w 83749"/>
                  <a:gd name="connsiteY7" fmla="*/ 108204 h 108204"/>
                  <a:gd name="connsiteX8" fmla="*/ 60079 w 83749"/>
                  <a:gd name="connsiteY8" fmla="*/ 108204 h 108204"/>
                  <a:gd name="connsiteX9" fmla="*/ 32987 w 83749"/>
                  <a:gd name="connsiteY9" fmla="*/ 75724 h 108204"/>
                  <a:gd name="connsiteX10" fmla="*/ 17587 w 83749"/>
                  <a:gd name="connsiteY10" fmla="*/ 89916 h 108204"/>
                  <a:gd name="connsiteX11" fmla="*/ 17587 w 83749"/>
                  <a:gd name="connsiteY11" fmla="*/ 108204 h 108204"/>
                  <a:gd name="connsiteX12" fmla="*/ 95 w 83749"/>
                  <a:gd name="connsiteY12" fmla="*/ 108204 h 108204"/>
                  <a:gd name="connsiteX13" fmla="*/ 95 w 83749"/>
                  <a:gd name="connsiteY13" fmla="*/ 0 h 108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83749" h="108204">
                    <a:moveTo>
                      <a:pt x="0" y="95"/>
                    </a:moveTo>
                    <a:lnTo>
                      <a:pt x="17491" y="95"/>
                    </a:lnTo>
                    <a:lnTo>
                      <a:pt x="17491" y="71533"/>
                    </a:lnTo>
                    <a:lnTo>
                      <a:pt x="17681" y="71533"/>
                    </a:lnTo>
                    <a:lnTo>
                      <a:pt x="59129" y="31147"/>
                    </a:lnTo>
                    <a:lnTo>
                      <a:pt x="81753" y="31147"/>
                    </a:lnTo>
                    <a:lnTo>
                      <a:pt x="45725" y="64675"/>
                    </a:lnTo>
                    <a:lnTo>
                      <a:pt x="83750" y="108204"/>
                    </a:lnTo>
                    <a:lnTo>
                      <a:pt x="60079" y="108204"/>
                    </a:lnTo>
                    <a:lnTo>
                      <a:pt x="32987" y="75724"/>
                    </a:lnTo>
                    <a:lnTo>
                      <a:pt x="17587" y="89916"/>
                    </a:lnTo>
                    <a:lnTo>
                      <a:pt x="17587" y="108204"/>
                    </a:lnTo>
                    <a:lnTo>
                      <a:pt x="95" y="108204"/>
                    </a:lnTo>
                    <a:lnTo>
                      <a:pt x="95" y="0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46" name="Freeform 46">
                <a:extLst>
                  <a:ext uri="{FF2B5EF4-FFF2-40B4-BE49-F238E27FC236}">
                    <a16:creationId xmlns:a16="http://schemas.microsoft.com/office/drawing/2014/main" id="{B1E30072-F36C-2CA2-A168-43A1B51BFCD6}"/>
                  </a:ext>
                </a:extLst>
              </p:cNvPr>
              <p:cNvSpPr/>
              <p:nvPr/>
            </p:nvSpPr>
            <p:spPr>
              <a:xfrm>
                <a:off x="7484762" y="3904868"/>
                <a:ext cx="75194" cy="79533"/>
              </a:xfrm>
              <a:custGeom>
                <a:avLst/>
                <a:gdLst>
                  <a:gd name="connsiteX0" fmla="*/ 75099 w 75194"/>
                  <a:gd name="connsiteY0" fmla="*/ 43148 h 79533"/>
                  <a:gd name="connsiteX1" fmla="*/ 17491 w 75194"/>
                  <a:gd name="connsiteY1" fmla="*/ 43148 h 79533"/>
                  <a:gd name="connsiteX2" fmla="*/ 39736 w 75194"/>
                  <a:gd name="connsiteY2" fmla="*/ 65913 h 79533"/>
                  <a:gd name="connsiteX3" fmla="*/ 59414 w 75194"/>
                  <a:gd name="connsiteY3" fmla="*/ 51911 h 79533"/>
                  <a:gd name="connsiteX4" fmla="*/ 75194 w 75194"/>
                  <a:gd name="connsiteY4" fmla="*/ 51911 h 79533"/>
                  <a:gd name="connsiteX5" fmla="*/ 39546 w 75194"/>
                  <a:gd name="connsiteY5" fmla="*/ 79534 h 79533"/>
                  <a:gd name="connsiteX6" fmla="*/ 0 w 75194"/>
                  <a:gd name="connsiteY6" fmla="*/ 40386 h 79533"/>
                  <a:gd name="connsiteX7" fmla="*/ 39546 w 75194"/>
                  <a:gd name="connsiteY7" fmla="*/ 0 h 79533"/>
                  <a:gd name="connsiteX8" fmla="*/ 75194 w 75194"/>
                  <a:gd name="connsiteY8" fmla="*/ 36957 h 79533"/>
                  <a:gd name="connsiteX9" fmla="*/ 75194 w 75194"/>
                  <a:gd name="connsiteY9" fmla="*/ 43244 h 79533"/>
                  <a:gd name="connsiteX10" fmla="*/ 59319 w 75194"/>
                  <a:gd name="connsiteY10" fmla="*/ 31433 h 79533"/>
                  <a:gd name="connsiteX11" fmla="*/ 39546 w 75194"/>
                  <a:gd name="connsiteY11" fmla="*/ 13525 h 79533"/>
                  <a:gd name="connsiteX12" fmla="*/ 17872 w 75194"/>
                  <a:gd name="connsiteY12" fmla="*/ 32575 h 79533"/>
                  <a:gd name="connsiteX13" fmla="*/ 59319 w 75194"/>
                  <a:gd name="connsiteY13" fmla="*/ 32575 h 79533"/>
                  <a:gd name="connsiteX14" fmla="*/ 59319 w 75194"/>
                  <a:gd name="connsiteY14" fmla="*/ 31528 h 7953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75194" h="79533">
                    <a:moveTo>
                      <a:pt x="75099" y="43148"/>
                    </a:moveTo>
                    <a:lnTo>
                      <a:pt x="17491" y="43148"/>
                    </a:lnTo>
                    <a:cubicBezTo>
                      <a:pt x="18442" y="58007"/>
                      <a:pt x="26712" y="65913"/>
                      <a:pt x="39736" y="65913"/>
                    </a:cubicBezTo>
                    <a:cubicBezTo>
                      <a:pt x="50953" y="65913"/>
                      <a:pt x="58558" y="60960"/>
                      <a:pt x="59414" y="51911"/>
                    </a:cubicBezTo>
                    <a:lnTo>
                      <a:pt x="75194" y="51911"/>
                    </a:lnTo>
                    <a:cubicBezTo>
                      <a:pt x="74529" y="69056"/>
                      <a:pt x="60555" y="79534"/>
                      <a:pt x="39546" y="79534"/>
                    </a:cubicBezTo>
                    <a:cubicBezTo>
                      <a:pt x="15210" y="79534"/>
                      <a:pt x="0" y="64579"/>
                      <a:pt x="0" y="40386"/>
                    </a:cubicBezTo>
                    <a:cubicBezTo>
                      <a:pt x="0" y="16193"/>
                      <a:pt x="15305" y="0"/>
                      <a:pt x="39546" y="0"/>
                    </a:cubicBezTo>
                    <a:cubicBezTo>
                      <a:pt x="61315" y="0"/>
                      <a:pt x="75194" y="12954"/>
                      <a:pt x="75194" y="36957"/>
                    </a:cubicBezTo>
                    <a:lnTo>
                      <a:pt x="75194" y="43244"/>
                    </a:lnTo>
                    <a:close/>
                    <a:moveTo>
                      <a:pt x="59319" y="31433"/>
                    </a:moveTo>
                    <a:cubicBezTo>
                      <a:pt x="59319" y="19907"/>
                      <a:pt x="52189" y="13525"/>
                      <a:pt x="39546" y="13525"/>
                    </a:cubicBezTo>
                    <a:cubicBezTo>
                      <a:pt x="26903" y="13525"/>
                      <a:pt x="19963" y="19812"/>
                      <a:pt x="17872" y="32575"/>
                    </a:cubicBezTo>
                    <a:lnTo>
                      <a:pt x="59319" y="32575"/>
                    </a:lnTo>
                    <a:lnTo>
                      <a:pt x="59319" y="31528"/>
                    </a:ln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47" name="Freeform 47">
                <a:extLst>
                  <a:ext uri="{FF2B5EF4-FFF2-40B4-BE49-F238E27FC236}">
                    <a16:creationId xmlns:a16="http://schemas.microsoft.com/office/drawing/2014/main" id="{ACC99569-9FCD-1358-8102-2F2C02DE4B28}"/>
                  </a:ext>
                </a:extLst>
              </p:cNvPr>
              <p:cNvSpPr/>
              <p:nvPr/>
            </p:nvSpPr>
            <p:spPr>
              <a:xfrm>
                <a:off x="7567751" y="3888581"/>
                <a:ext cx="56086" cy="95535"/>
              </a:xfrm>
              <a:custGeom>
                <a:avLst/>
                <a:gdLst>
                  <a:gd name="connsiteX0" fmla="*/ 12168 w 56086"/>
                  <a:gd name="connsiteY0" fmla="*/ 67056 h 95535"/>
                  <a:gd name="connsiteX1" fmla="*/ 12168 w 56086"/>
                  <a:gd name="connsiteY1" fmla="*/ 31623 h 95535"/>
                  <a:gd name="connsiteX2" fmla="*/ 0 w 56086"/>
                  <a:gd name="connsiteY2" fmla="*/ 31623 h 95535"/>
                  <a:gd name="connsiteX3" fmla="*/ 0 w 56086"/>
                  <a:gd name="connsiteY3" fmla="*/ 17431 h 95535"/>
                  <a:gd name="connsiteX4" fmla="*/ 9791 w 56086"/>
                  <a:gd name="connsiteY4" fmla="*/ 17431 h 95535"/>
                  <a:gd name="connsiteX5" fmla="*/ 14354 w 56086"/>
                  <a:gd name="connsiteY5" fmla="*/ 11525 h 95535"/>
                  <a:gd name="connsiteX6" fmla="*/ 15115 w 56086"/>
                  <a:gd name="connsiteY6" fmla="*/ 0 h 95535"/>
                  <a:gd name="connsiteX7" fmla="*/ 29564 w 56086"/>
                  <a:gd name="connsiteY7" fmla="*/ 0 h 95535"/>
                  <a:gd name="connsiteX8" fmla="*/ 29564 w 56086"/>
                  <a:gd name="connsiteY8" fmla="*/ 17526 h 95535"/>
                  <a:gd name="connsiteX9" fmla="*/ 56087 w 56086"/>
                  <a:gd name="connsiteY9" fmla="*/ 17526 h 95535"/>
                  <a:gd name="connsiteX10" fmla="*/ 56087 w 56086"/>
                  <a:gd name="connsiteY10" fmla="*/ 31718 h 95535"/>
                  <a:gd name="connsiteX11" fmla="*/ 29564 w 56086"/>
                  <a:gd name="connsiteY11" fmla="*/ 31718 h 95535"/>
                  <a:gd name="connsiteX12" fmla="*/ 29564 w 56086"/>
                  <a:gd name="connsiteY12" fmla="*/ 66199 h 95535"/>
                  <a:gd name="connsiteX13" fmla="*/ 43919 w 56086"/>
                  <a:gd name="connsiteY13" fmla="*/ 81153 h 95535"/>
                  <a:gd name="connsiteX14" fmla="*/ 55421 w 56086"/>
                  <a:gd name="connsiteY14" fmla="*/ 79724 h 95535"/>
                  <a:gd name="connsiteX15" fmla="*/ 55421 w 56086"/>
                  <a:gd name="connsiteY15" fmla="*/ 93631 h 95535"/>
                  <a:gd name="connsiteX16" fmla="*/ 41447 w 56086"/>
                  <a:gd name="connsiteY16" fmla="*/ 95536 h 95535"/>
                  <a:gd name="connsiteX17" fmla="*/ 12168 w 56086"/>
                  <a:gd name="connsiteY17" fmla="*/ 67151 h 9553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56086" h="95535">
                    <a:moveTo>
                      <a:pt x="12168" y="67056"/>
                    </a:moveTo>
                    <a:lnTo>
                      <a:pt x="12168" y="31623"/>
                    </a:lnTo>
                    <a:lnTo>
                      <a:pt x="0" y="31623"/>
                    </a:lnTo>
                    <a:lnTo>
                      <a:pt x="0" y="17431"/>
                    </a:lnTo>
                    <a:lnTo>
                      <a:pt x="9791" y="17431"/>
                    </a:lnTo>
                    <a:cubicBezTo>
                      <a:pt x="12738" y="17431"/>
                      <a:pt x="13879" y="15907"/>
                      <a:pt x="14354" y="11525"/>
                    </a:cubicBezTo>
                    <a:lnTo>
                      <a:pt x="15115" y="0"/>
                    </a:lnTo>
                    <a:lnTo>
                      <a:pt x="29564" y="0"/>
                    </a:lnTo>
                    <a:lnTo>
                      <a:pt x="29564" y="17526"/>
                    </a:lnTo>
                    <a:lnTo>
                      <a:pt x="56087" y="17526"/>
                    </a:lnTo>
                    <a:lnTo>
                      <a:pt x="56087" y="31718"/>
                    </a:lnTo>
                    <a:lnTo>
                      <a:pt x="29564" y="31718"/>
                    </a:lnTo>
                    <a:lnTo>
                      <a:pt x="29564" y="66199"/>
                    </a:lnTo>
                    <a:cubicBezTo>
                      <a:pt x="29564" y="76200"/>
                      <a:pt x="33272" y="81153"/>
                      <a:pt x="43919" y="81153"/>
                    </a:cubicBezTo>
                    <a:cubicBezTo>
                      <a:pt x="48291" y="81153"/>
                      <a:pt x="53235" y="80391"/>
                      <a:pt x="55421" y="79724"/>
                    </a:cubicBezTo>
                    <a:lnTo>
                      <a:pt x="55421" y="93631"/>
                    </a:lnTo>
                    <a:cubicBezTo>
                      <a:pt x="53045" y="94393"/>
                      <a:pt x="47816" y="95536"/>
                      <a:pt x="41447" y="95536"/>
                    </a:cubicBezTo>
                    <a:cubicBezTo>
                      <a:pt x="20438" y="95536"/>
                      <a:pt x="12168" y="84106"/>
                      <a:pt x="12168" y="67151"/>
                    </a:cubicBez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  <p:sp>
            <p:nvSpPr>
              <p:cNvPr id="48" name="Freeform 48">
                <a:extLst>
                  <a:ext uri="{FF2B5EF4-FFF2-40B4-BE49-F238E27FC236}">
                    <a16:creationId xmlns:a16="http://schemas.microsoft.com/office/drawing/2014/main" id="{F41BE927-9566-EFCA-3150-C1B848E20E3F}"/>
                  </a:ext>
                </a:extLst>
              </p:cNvPr>
              <p:cNvSpPr/>
              <p:nvPr/>
            </p:nvSpPr>
            <p:spPr>
              <a:xfrm>
                <a:off x="7633344" y="3904678"/>
                <a:ext cx="73863" cy="79629"/>
              </a:xfrm>
              <a:custGeom>
                <a:avLst/>
                <a:gdLst>
                  <a:gd name="connsiteX0" fmla="*/ 0 w 73863"/>
                  <a:gd name="connsiteY0" fmla="*/ 52673 h 79629"/>
                  <a:gd name="connsiteX1" fmla="*/ 15780 w 73863"/>
                  <a:gd name="connsiteY1" fmla="*/ 52673 h 79629"/>
                  <a:gd name="connsiteX2" fmla="*/ 35838 w 73863"/>
                  <a:gd name="connsiteY2" fmla="*/ 67056 h 79629"/>
                  <a:gd name="connsiteX3" fmla="*/ 56277 w 73863"/>
                  <a:gd name="connsiteY3" fmla="*/ 55626 h 79629"/>
                  <a:gd name="connsiteX4" fmla="*/ 51143 w 73863"/>
                  <a:gd name="connsiteY4" fmla="*/ 48577 h 79629"/>
                  <a:gd name="connsiteX5" fmla="*/ 31561 w 73863"/>
                  <a:gd name="connsiteY5" fmla="*/ 45625 h 79629"/>
                  <a:gd name="connsiteX6" fmla="*/ 6749 w 73863"/>
                  <a:gd name="connsiteY6" fmla="*/ 39529 h 79629"/>
                  <a:gd name="connsiteX7" fmla="*/ 95 w 73863"/>
                  <a:gd name="connsiteY7" fmla="*/ 24860 h 79629"/>
                  <a:gd name="connsiteX8" fmla="*/ 35933 w 73863"/>
                  <a:gd name="connsiteY8" fmla="*/ 0 h 79629"/>
                  <a:gd name="connsiteX9" fmla="*/ 70536 w 73863"/>
                  <a:gd name="connsiteY9" fmla="*/ 27432 h 79629"/>
                  <a:gd name="connsiteX10" fmla="*/ 54756 w 73863"/>
                  <a:gd name="connsiteY10" fmla="*/ 27432 h 79629"/>
                  <a:gd name="connsiteX11" fmla="*/ 36409 w 73863"/>
                  <a:gd name="connsiteY11" fmla="*/ 12573 h 79629"/>
                  <a:gd name="connsiteX12" fmla="*/ 17396 w 73863"/>
                  <a:gd name="connsiteY12" fmla="*/ 23527 h 79629"/>
                  <a:gd name="connsiteX13" fmla="*/ 22720 w 73863"/>
                  <a:gd name="connsiteY13" fmla="*/ 31528 h 79629"/>
                  <a:gd name="connsiteX14" fmla="*/ 43158 w 73863"/>
                  <a:gd name="connsiteY14" fmla="*/ 34480 h 79629"/>
                  <a:gd name="connsiteX15" fmla="*/ 65783 w 73863"/>
                  <a:gd name="connsiteY15" fmla="*/ 39815 h 79629"/>
                  <a:gd name="connsiteX16" fmla="*/ 73863 w 73863"/>
                  <a:gd name="connsiteY16" fmla="*/ 54769 h 79629"/>
                  <a:gd name="connsiteX17" fmla="*/ 36123 w 73863"/>
                  <a:gd name="connsiteY17" fmla="*/ 79629 h 79629"/>
                  <a:gd name="connsiteX18" fmla="*/ 95 w 73863"/>
                  <a:gd name="connsiteY18" fmla="*/ 52673 h 7962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73863" h="79629">
                    <a:moveTo>
                      <a:pt x="0" y="52673"/>
                    </a:moveTo>
                    <a:lnTo>
                      <a:pt x="15780" y="52673"/>
                    </a:lnTo>
                    <a:cubicBezTo>
                      <a:pt x="15780" y="61531"/>
                      <a:pt x="20914" y="67056"/>
                      <a:pt x="35838" y="67056"/>
                    </a:cubicBezTo>
                    <a:cubicBezTo>
                      <a:pt x="50003" y="67056"/>
                      <a:pt x="56277" y="62674"/>
                      <a:pt x="56277" y="55626"/>
                    </a:cubicBezTo>
                    <a:cubicBezTo>
                      <a:pt x="56277" y="52673"/>
                      <a:pt x="55136" y="50006"/>
                      <a:pt x="51143" y="48577"/>
                    </a:cubicBezTo>
                    <a:cubicBezTo>
                      <a:pt x="47436" y="47149"/>
                      <a:pt x="40116" y="46387"/>
                      <a:pt x="31561" y="45625"/>
                    </a:cubicBezTo>
                    <a:cubicBezTo>
                      <a:pt x="19583" y="44577"/>
                      <a:pt x="11502" y="42958"/>
                      <a:pt x="6749" y="39529"/>
                    </a:cubicBezTo>
                    <a:cubicBezTo>
                      <a:pt x="2567" y="36385"/>
                      <a:pt x="95" y="30766"/>
                      <a:pt x="95" y="24860"/>
                    </a:cubicBezTo>
                    <a:cubicBezTo>
                      <a:pt x="95" y="9430"/>
                      <a:pt x="15020" y="0"/>
                      <a:pt x="35933" y="0"/>
                    </a:cubicBezTo>
                    <a:cubicBezTo>
                      <a:pt x="59889" y="0"/>
                      <a:pt x="70536" y="10001"/>
                      <a:pt x="70536" y="27432"/>
                    </a:cubicBezTo>
                    <a:lnTo>
                      <a:pt x="54756" y="27432"/>
                    </a:lnTo>
                    <a:cubicBezTo>
                      <a:pt x="54566" y="17431"/>
                      <a:pt x="49147" y="12573"/>
                      <a:pt x="36409" y="12573"/>
                    </a:cubicBezTo>
                    <a:cubicBezTo>
                      <a:pt x="23670" y="12573"/>
                      <a:pt x="17396" y="16954"/>
                      <a:pt x="17396" y="23527"/>
                    </a:cubicBezTo>
                    <a:cubicBezTo>
                      <a:pt x="17396" y="26765"/>
                      <a:pt x="18157" y="29908"/>
                      <a:pt x="22720" y="31528"/>
                    </a:cubicBezTo>
                    <a:cubicBezTo>
                      <a:pt x="26427" y="32766"/>
                      <a:pt x="33747" y="33528"/>
                      <a:pt x="43158" y="34480"/>
                    </a:cubicBezTo>
                    <a:cubicBezTo>
                      <a:pt x="54090" y="35528"/>
                      <a:pt x="60269" y="36671"/>
                      <a:pt x="65783" y="39815"/>
                    </a:cubicBezTo>
                    <a:cubicBezTo>
                      <a:pt x="70916" y="42577"/>
                      <a:pt x="73863" y="48577"/>
                      <a:pt x="73863" y="54769"/>
                    </a:cubicBezTo>
                    <a:cubicBezTo>
                      <a:pt x="73863" y="70390"/>
                      <a:pt x="60745" y="79629"/>
                      <a:pt x="36123" y="79629"/>
                    </a:cubicBezTo>
                    <a:cubicBezTo>
                      <a:pt x="9601" y="79629"/>
                      <a:pt x="95" y="67723"/>
                      <a:pt x="95" y="52673"/>
                    </a:cubicBezTo>
                    <a:close/>
                  </a:path>
                </a:pathLst>
              </a:custGeom>
              <a:grpFill/>
              <a:ln w="949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GB" sz="2968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53539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4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400"/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0" presetClass="entr" presetSubtype="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75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build="p"/>
      <p:bldP spid="16" grpId="0" build="p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Left Vari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A86676D4-BE0D-4409-AD90-B5A80D163FB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82550" y="0"/>
            <a:ext cx="10264614" cy="11313204"/>
          </a:xfrm>
          <a:custGeom>
            <a:avLst/>
            <a:gdLst>
              <a:gd name="connsiteX0" fmla="*/ 0 w 10264614"/>
              <a:gd name="connsiteY0" fmla="*/ 0 h 11313204"/>
              <a:gd name="connsiteX1" fmla="*/ 10264614 w 10264614"/>
              <a:gd name="connsiteY1" fmla="*/ 0 h 11313204"/>
              <a:gd name="connsiteX2" fmla="*/ 8773665 w 10264614"/>
              <a:gd name="connsiteY2" fmla="*/ 11313204 h 11313204"/>
              <a:gd name="connsiteX3" fmla="*/ 28673 w 10264614"/>
              <a:gd name="connsiteY3" fmla="*/ 11313204 h 11313204"/>
              <a:gd name="connsiteX4" fmla="*/ 0 w 10264614"/>
              <a:gd name="connsiteY4" fmla="*/ 0 h 113132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64614" h="11313204">
                <a:moveTo>
                  <a:pt x="0" y="0"/>
                </a:moveTo>
                <a:lnTo>
                  <a:pt x="10264614" y="0"/>
                </a:lnTo>
                <a:lnTo>
                  <a:pt x="8773665" y="11313204"/>
                </a:lnTo>
                <a:lnTo>
                  <a:pt x="28673" y="11313204"/>
                </a:lnTo>
                <a:cubicBezTo>
                  <a:pt x="23894" y="7532601"/>
                  <a:pt x="19116" y="3751999"/>
                  <a:pt x="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GB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A29740D6-805F-46A7-AC4F-2353B24DDD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652250" y="3883025"/>
            <a:ext cx="7543800" cy="430887"/>
          </a:xfrm>
        </p:spPr>
        <p:txBody>
          <a:bodyPr/>
          <a:lstStyle>
            <a:lvl1pPr>
              <a:defRPr sz="2800">
                <a:solidFill>
                  <a:srgbClr val="333333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lvl="0"/>
            <a:r>
              <a:rPr lang="en-GB"/>
              <a:t>The text goes here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692680FA-F464-404F-BE66-FF70571100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1652250" y="2301875"/>
            <a:ext cx="7543800" cy="615553"/>
          </a:xfrm>
        </p:spPr>
        <p:txBody>
          <a:bodyPr/>
          <a:lstStyle>
            <a:lvl1pPr>
              <a:defRPr sz="4000" b="1">
                <a:solidFill>
                  <a:srgbClr val="449BCC"/>
                </a:solidFill>
                <a:latin typeface="Comfortaa" pitchFamily="2" charset="0"/>
              </a:defRPr>
            </a:lvl1pPr>
          </a:lstStyle>
          <a:p>
            <a:pPr lvl="0"/>
            <a:r>
              <a:rPr lang="en-GB"/>
              <a:t>Enter Title Here</a:t>
            </a:r>
          </a:p>
        </p:txBody>
      </p:sp>
      <p:sp>
        <p:nvSpPr>
          <p:cNvPr id="31" name="object 16">
            <a:extLst>
              <a:ext uri="{FF2B5EF4-FFF2-40B4-BE49-F238E27FC236}">
                <a16:creationId xmlns:a16="http://schemas.microsoft.com/office/drawing/2014/main" id="{61349B90-90A2-4E37-A9D1-43A4E221C2B1}"/>
              </a:ext>
            </a:extLst>
          </p:cNvPr>
          <p:cNvSpPr/>
          <p:nvPr userDrawn="1"/>
        </p:nvSpPr>
        <p:spPr>
          <a:xfrm>
            <a:off x="0" y="0"/>
            <a:ext cx="3398421" cy="2675293"/>
          </a:xfrm>
          <a:custGeom>
            <a:avLst/>
            <a:gdLst/>
            <a:ahLst/>
            <a:cxnLst/>
            <a:rect l="l" t="t" r="r" b="b"/>
            <a:pathLst>
              <a:path w="4649470" h="3660140">
                <a:moveTo>
                  <a:pt x="4013500" y="0"/>
                </a:moveTo>
                <a:lnTo>
                  <a:pt x="0" y="0"/>
                </a:lnTo>
                <a:lnTo>
                  <a:pt x="0" y="3660108"/>
                </a:lnTo>
                <a:lnTo>
                  <a:pt x="4649125" y="2457768"/>
                </a:lnTo>
                <a:lnTo>
                  <a:pt x="4013500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3" name="object 13">
            <a:extLst>
              <a:ext uri="{FF2B5EF4-FFF2-40B4-BE49-F238E27FC236}">
                <a16:creationId xmlns:a16="http://schemas.microsoft.com/office/drawing/2014/main" id="{0362DB3C-899A-47B6-83F3-AD7EB7C775A5}"/>
              </a:ext>
            </a:extLst>
          </p:cNvPr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8120760" y="15078"/>
            <a:ext cx="3096031" cy="11308558"/>
          </a:xfrm>
          <a:prstGeom prst="rect">
            <a:avLst/>
          </a:prstGeom>
        </p:spPr>
      </p:pic>
      <p:pic>
        <p:nvPicPr>
          <p:cNvPr id="2" name="Picture 1" descr="Icon&#10;&#10;Description automatically generated">
            <a:extLst>
              <a:ext uri="{FF2B5EF4-FFF2-40B4-BE49-F238E27FC236}">
                <a16:creationId xmlns:a16="http://schemas.microsoft.com/office/drawing/2014/main" id="{98B89D03-3904-43D0-59F0-0CC9D1FAF5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409" y="755940"/>
            <a:ext cx="2391223" cy="944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80868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ain (G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F3918CB-A61A-8A43-05DE-7D51ECBE796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0994303E-A424-9540-91A8-53B791C91E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2461144-37F7-1B8E-8C8F-A142D78749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Regular heading goes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844A63-D478-63A3-32FA-965832495F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086356" y="3023682"/>
            <a:ext cx="8431680" cy="6549999"/>
          </a:xfrm>
        </p:spPr>
        <p:txBody>
          <a:bodyPr/>
          <a:lstStyle>
            <a:lvl1pPr marL="0" indent="0">
              <a:buFont typeface="Arial" panose="020B0604020202020204" pitchFamily="34" charset="0"/>
              <a:buNone/>
              <a:tabLst/>
              <a:defRPr/>
            </a:lvl1pPr>
          </a:lstStyle>
          <a:p>
            <a:pPr lvl="0"/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perspiciatis</a:t>
            </a:r>
            <a:r>
              <a:rPr lang="en-GB"/>
              <a:t> </a:t>
            </a:r>
            <a:r>
              <a:rPr lang="en-GB" err="1"/>
              <a:t>unde</a:t>
            </a:r>
            <a:r>
              <a:rPr lang="en-GB"/>
              <a:t> </a:t>
            </a:r>
            <a:r>
              <a:rPr lang="en-GB" err="1"/>
              <a:t>omnis</a:t>
            </a:r>
            <a:r>
              <a:rPr lang="en-GB"/>
              <a:t> </a:t>
            </a:r>
            <a:r>
              <a:rPr lang="en-GB" err="1"/>
              <a:t>iste</a:t>
            </a:r>
            <a:r>
              <a:rPr lang="en-GB"/>
              <a:t> </a:t>
            </a:r>
            <a:r>
              <a:rPr lang="en-GB" err="1"/>
              <a:t>natus</a:t>
            </a:r>
            <a:r>
              <a:rPr lang="en-GB"/>
              <a:t> error sit </a:t>
            </a:r>
            <a:r>
              <a:rPr lang="en-GB" err="1"/>
              <a:t>voluptatem</a:t>
            </a:r>
            <a:r>
              <a:rPr lang="en-GB"/>
              <a:t> </a:t>
            </a:r>
            <a:r>
              <a:rPr lang="en-GB" err="1"/>
              <a:t>accusantium</a:t>
            </a:r>
            <a:r>
              <a:rPr lang="en-GB"/>
              <a:t> </a:t>
            </a:r>
            <a:r>
              <a:rPr lang="en-GB" err="1"/>
              <a:t>doloremque</a:t>
            </a:r>
            <a:r>
              <a:rPr lang="en-GB"/>
              <a:t> </a:t>
            </a:r>
            <a:r>
              <a:rPr lang="en-GB" err="1"/>
              <a:t>laudantium</a:t>
            </a:r>
            <a:r>
              <a:rPr lang="en-GB"/>
              <a:t>, </a:t>
            </a:r>
            <a:r>
              <a:rPr lang="en-GB" err="1"/>
              <a:t>totam</a:t>
            </a:r>
            <a:r>
              <a:rPr lang="en-GB"/>
              <a:t> rem </a:t>
            </a:r>
            <a:r>
              <a:rPr lang="en-GB" err="1"/>
              <a:t>aperiam</a:t>
            </a:r>
            <a:r>
              <a:rPr lang="en-GB"/>
              <a:t>, </a:t>
            </a:r>
            <a:r>
              <a:rPr lang="en-GB" err="1"/>
              <a:t>eaque</a:t>
            </a:r>
            <a:r>
              <a:rPr lang="en-GB"/>
              <a:t> </a:t>
            </a:r>
            <a:r>
              <a:rPr lang="en-GB" err="1"/>
              <a:t>ipsa</a:t>
            </a:r>
            <a:r>
              <a:rPr lang="en-GB"/>
              <a:t> </a:t>
            </a:r>
            <a:r>
              <a:rPr lang="en-GB" err="1"/>
              <a:t>quae</a:t>
            </a:r>
            <a:r>
              <a:rPr lang="en-GB"/>
              <a:t> ab </a:t>
            </a:r>
            <a:r>
              <a:rPr lang="en-GB" err="1"/>
              <a:t>illo</a:t>
            </a:r>
            <a:r>
              <a:rPr lang="en-GB"/>
              <a:t> </a:t>
            </a:r>
            <a:r>
              <a:rPr lang="en-GB" err="1"/>
              <a:t>inventore</a:t>
            </a:r>
            <a:r>
              <a:rPr lang="en-GB"/>
              <a:t> </a:t>
            </a:r>
            <a:r>
              <a:rPr lang="en-GB" err="1"/>
              <a:t>veritatis</a:t>
            </a:r>
            <a:r>
              <a:rPr lang="en-GB"/>
              <a:t> et quasi </a:t>
            </a:r>
            <a:r>
              <a:rPr lang="en-GB" err="1"/>
              <a:t>architecto</a:t>
            </a:r>
            <a:r>
              <a:rPr lang="en-GB"/>
              <a:t> beatae vitae dicta sunt </a:t>
            </a:r>
            <a:r>
              <a:rPr lang="en-GB" err="1"/>
              <a:t>explicabo</a:t>
            </a:r>
            <a:r>
              <a:rPr lang="en-GB"/>
              <a:t>. Nemo </a:t>
            </a:r>
            <a:r>
              <a:rPr lang="en-GB" err="1"/>
              <a:t>enim</a:t>
            </a:r>
            <a:r>
              <a:rPr lang="en-GB"/>
              <a:t> </a:t>
            </a:r>
            <a:r>
              <a:rPr lang="en-GB" err="1"/>
              <a:t>ipsam</a:t>
            </a:r>
            <a:r>
              <a:rPr lang="en-GB"/>
              <a:t> </a:t>
            </a:r>
            <a:r>
              <a:rPr lang="en-GB" err="1"/>
              <a:t>voluptatem</a:t>
            </a:r>
            <a:r>
              <a:rPr lang="en-GB"/>
              <a:t> </a:t>
            </a:r>
            <a:r>
              <a:rPr lang="en-GB" err="1"/>
              <a:t>quia</a:t>
            </a:r>
            <a:r>
              <a:rPr lang="en-GB"/>
              <a:t> </a:t>
            </a:r>
            <a:r>
              <a:rPr lang="en-GB" err="1"/>
              <a:t>voluptas</a:t>
            </a:r>
            <a:r>
              <a:rPr lang="en-GB"/>
              <a:t> sit </a:t>
            </a:r>
            <a:r>
              <a:rPr lang="en-GB" err="1"/>
              <a:t>aspernatur</a:t>
            </a:r>
            <a:r>
              <a:rPr lang="en-GB"/>
              <a:t> </a:t>
            </a:r>
            <a:r>
              <a:rPr lang="en-GB" err="1"/>
              <a:t>aut</a:t>
            </a:r>
            <a:r>
              <a:rPr lang="en-GB"/>
              <a:t> </a:t>
            </a:r>
            <a:r>
              <a:rPr lang="en-GB" err="1"/>
              <a:t>odit</a:t>
            </a:r>
            <a:r>
              <a:rPr lang="en-GB"/>
              <a:t> </a:t>
            </a:r>
            <a:r>
              <a:rPr lang="en-GB" err="1"/>
              <a:t>aut</a:t>
            </a:r>
            <a:r>
              <a:rPr lang="en-GB"/>
              <a:t> fugit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quia</a:t>
            </a:r>
            <a:r>
              <a:rPr lang="en-GB"/>
              <a:t> </a:t>
            </a:r>
            <a:r>
              <a:rPr lang="en-GB" err="1"/>
              <a:t>consequuntur</a:t>
            </a:r>
            <a:r>
              <a:rPr lang="en-GB"/>
              <a:t> </a:t>
            </a:r>
            <a:r>
              <a:rPr lang="en-GB" err="1"/>
              <a:t>magni</a:t>
            </a:r>
            <a:r>
              <a:rPr lang="en-GB"/>
              <a:t> </a:t>
            </a:r>
            <a:r>
              <a:rPr lang="en-GB" err="1"/>
              <a:t>dolores</a:t>
            </a:r>
            <a:r>
              <a:rPr lang="en-GB"/>
              <a:t> </a:t>
            </a:r>
            <a:r>
              <a:rPr lang="en-GB" err="1"/>
              <a:t>eos</a:t>
            </a:r>
            <a:r>
              <a:rPr lang="en-GB"/>
              <a:t> qui </a:t>
            </a:r>
            <a:r>
              <a:rPr lang="en-GB" err="1"/>
              <a:t>ratione</a:t>
            </a:r>
            <a:r>
              <a:rPr lang="en-GB"/>
              <a:t> </a:t>
            </a:r>
            <a:r>
              <a:rPr lang="en-GB" err="1"/>
              <a:t>voluptatem</a:t>
            </a:r>
            <a:r>
              <a:rPr lang="en-GB"/>
              <a:t> </a:t>
            </a:r>
            <a:r>
              <a:rPr lang="en-GB" err="1"/>
              <a:t>sequi</a:t>
            </a:r>
            <a:r>
              <a:rPr lang="en-GB"/>
              <a:t> </a:t>
            </a:r>
            <a:r>
              <a:rPr lang="en-GB" err="1"/>
              <a:t>nesciunt</a:t>
            </a:r>
            <a:r>
              <a:rPr lang="en-GB"/>
              <a:t>. </a:t>
            </a:r>
            <a:r>
              <a:rPr lang="en-GB" err="1"/>
              <a:t>Neque</a:t>
            </a:r>
            <a:r>
              <a:rPr lang="en-GB"/>
              <a:t> </a:t>
            </a:r>
            <a:r>
              <a:rPr lang="en-GB" err="1"/>
              <a:t>porro</a:t>
            </a:r>
            <a:r>
              <a:rPr lang="en-GB"/>
              <a:t> </a:t>
            </a:r>
            <a:r>
              <a:rPr lang="en-GB" err="1"/>
              <a:t>quisquam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, qui </a:t>
            </a:r>
            <a:r>
              <a:rPr lang="en-GB" err="1"/>
              <a:t>dolorem</a:t>
            </a:r>
            <a:r>
              <a:rPr lang="en-GB"/>
              <a:t> ipsum </a:t>
            </a:r>
            <a:r>
              <a:rPr lang="en-GB" err="1"/>
              <a:t>quia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, </a:t>
            </a:r>
            <a:r>
              <a:rPr lang="en-GB" err="1"/>
              <a:t>adipisci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quia</a:t>
            </a:r>
            <a:r>
              <a:rPr lang="en-GB"/>
              <a:t> non </a:t>
            </a:r>
            <a:r>
              <a:rPr lang="en-GB" err="1"/>
              <a:t>numquam</a:t>
            </a:r>
            <a:r>
              <a:rPr lang="en-GB"/>
              <a:t> </a:t>
            </a:r>
            <a:r>
              <a:rPr lang="en-GB" err="1"/>
              <a:t>eius</a:t>
            </a:r>
            <a:r>
              <a:rPr lang="en-GB"/>
              <a:t> </a:t>
            </a:r>
            <a:r>
              <a:rPr lang="en-GB" err="1"/>
              <a:t>modi</a:t>
            </a:r>
            <a:r>
              <a:rPr lang="en-GB"/>
              <a:t> </a:t>
            </a:r>
            <a:r>
              <a:rPr lang="en-GB" err="1"/>
              <a:t>tempora</a:t>
            </a:r>
            <a:r>
              <a:rPr lang="en-GB"/>
              <a:t> </a:t>
            </a:r>
            <a:r>
              <a:rPr lang="en-GB" err="1"/>
              <a:t>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labore et dolore </a:t>
            </a:r>
            <a:r>
              <a:rPr lang="en-GB" err="1"/>
              <a:t>magnam</a:t>
            </a:r>
            <a:r>
              <a:rPr lang="en-GB"/>
              <a:t>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quaerat</a:t>
            </a:r>
            <a:r>
              <a:rPr lang="en-GB"/>
              <a:t> </a:t>
            </a:r>
            <a:r>
              <a:rPr lang="en-GB" err="1"/>
              <a:t>voluptatem</a:t>
            </a:r>
            <a:r>
              <a:rPr lang="en-GB"/>
              <a:t>.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F5A256AF-D608-21F3-EDE3-B2B7738BFC28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586877" y="3023682"/>
            <a:ext cx="8431680" cy="6549999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perspiciatis</a:t>
            </a:r>
            <a:r>
              <a:rPr lang="en-GB"/>
              <a:t> </a:t>
            </a:r>
            <a:r>
              <a:rPr lang="en-GB" err="1"/>
              <a:t>unde</a:t>
            </a:r>
            <a:r>
              <a:rPr lang="en-GB"/>
              <a:t> </a:t>
            </a:r>
            <a:r>
              <a:rPr lang="en-GB" err="1"/>
              <a:t>omnis</a:t>
            </a:r>
            <a:r>
              <a:rPr lang="en-GB"/>
              <a:t> </a:t>
            </a:r>
            <a:r>
              <a:rPr lang="en-GB" err="1"/>
              <a:t>iste</a:t>
            </a:r>
            <a:r>
              <a:rPr lang="en-GB"/>
              <a:t> </a:t>
            </a:r>
            <a:r>
              <a:rPr lang="en-GB" err="1"/>
              <a:t>natus</a:t>
            </a:r>
            <a:r>
              <a:rPr lang="en-GB"/>
              <a:t> error sit </a:t>
            </a:r>
            <a:r>
              <a:rPr lang="en-GB" err="1"/>
              <a:t>voluptatem</a:t>
            </a:r>
            <a:r>
              <a:rPr lang="en-GB"/>
              <a:t> </a:t>
            </a:r>
            <a:r>
              <a:rPr lang="en-GB" err="1"/>
              <a:t>accusantium</a:t>
            </a:r>
            <a:r>
              <a:rPr lang="en-GB"/>
              <a:t> </a:t>
            </a:r>
            <a:r>
              <a:rPr lang="en-GB" err="1"/>
              <a:t>doloremque</a:t>
            </a:r>
            <a:r>
              <a:rPr lang="en-GB"/>
              <a:t> </a:t>
            </a:r>
            <a:r>
              <a:rPr lang="en-GB" err="1"/>
              <a:t>laudantium</a:t>
            </a:r>
            <a:r>
              <a:rPr lang="en-GB"/>
              <a:t>, </a:t>
            </a:r>
            <a:r>
              <a:rPr lang="en-GB" err="1"/>
              <a:t>totam</a:t>
            </a:r>
            <a:r>
              <a:rPr lang="en-GB"/>
              <a:t> rem </a:t>
            </a:r>
            <a:r>
              <a:rPr lang="en-GB" err="1"/>
              <a:t>aperiam</a:t>
            </a:r>
            <a:r>
              <a:rPr lang="en-GB"/>
              <a:t>, </a:t>
            </a:r>
            <a:r>
              <a:rPr lang="en-GB" err="1"/>
              <a:t>eaque</a:t>
            </a:r>
            <a:r>
              <a:rPr lang="en-GB"/>
              <a:t> </a:t>
            </a:r>
            <a:r>
              <a:rPr lang="en-GB" err="1"/>
              <a:t>ipsa</a:t>
            </a:r>
            <a:r>
              <a:rPr lang="en-GB"/>
              <a:t> </a:t>
            </a:r>
            <a:r>
              <a:rPr lang="en-GB" err="1"/>
              <a:t>quae</a:t>
            </a:r>
            <a:r>
              <a:rPr lang="en-GB"/>
              <a:t> ab </a:t>
            </a:r>
            <a:r>
              <a:rPr lang="en-GB" err="1"/>
              <a:t>illo</a:t>
            </a:r>
            <a:r>
              <a:rPr lang="en-GB"/>
              <a:t> </a:t>
            </a:r>
            <a:r>
              <a:rPr lang="en-GB" err="1"/>
              <a:t>inventore</a:t>
            </a:r>
            <a:r>
              <a:rPr lang="en-GB"/>
              <a:t> </a:t>
            </a:r>
            <a:r>
              <a:rPr lang="en-GB" err="1"/>
              <a:t>veritatis</a:t>
            </a:r>
            <a:r>
              <a:rPr lang="en-GB"/>
              <a:t> et quasi </a:t>
            </a:r>
            <a:r>
              <a:rPr lang="en-GB" err="1"/>
              <a:t>architecto</a:t>
            </a:r>
            <a:r>
              <a:rPr lang="en-GB"/>
              <a:t> beatae vitae dicta sunt </a:t>
            </a:r>
            <a:r>
              <a:rPr lang="en-GB" err="1"/>
              <a:t>explicabo</a:t>
            </a:r>
            <a:r>
              <a:rPr lang="en-GB"/>
              <a:t>. Nemo </a:t>
            </a:r>
            <a:r>
              <a:rPr lang="en-GB" err="1"/>
              <a:t>enim</a:t>
            </a:r>
            <a:r>
              <a:rPr lang="en-GB"/>
              <a:t> </a:t>
            </a:r>
            <a:r>
              <a:rPr lang="en-GB" err="1"/>
              <a:t>ipsam</a:t>
            </a:r>
            <a:r>
              <a:rPr lang="en-GB"/>
              <a:t> </a:t>
            </a:r>
            <a:r>
              <a:rPr lang="en-GB" err="1"/>
              <a:t>voluptatem</a:t>
            </a:r>
            <a:r>
              <a:rPr lang="en-GB"/>
              <a:t> </a:t>
            </a:r>
            <a:r>
              <a:rPr lang="en-GB" err="1"/>
              <a:t>quia</a:t>
            </a:r>
            <a:r>
              <a:rPr lang="en-GB"/>
              <a:t> </a:t>
            </a:r>
            <a:r>
              <a:rPr lang="en-GB" err="1"/>
              <a:t>voluptas</a:t>
            </a:r>
            <a:r>
              <a:rPr lang="en-GB"/>
              <a:t> sit </a:t>
            </a:r>
            <a:r>
              <a:rPr lang="en-GB" err="1"/>
              <a:t>aspernatur</a:t>
            </a:r>
            <a:r>
              <a:rPr lang="en-GB"/>
              <a:t> </a:t>
            </a:r>
            <a:r>
              <a:rPr lang="en-GB" err="1"/>
              <a:t>aut</a:t>
            </a:r>
            <a:r>
              <a:rPr lang="en-GB"/>
              <a:t> </a:t>
            </a:r>
            <a:r>
              <a:rPr lang="en-GB" err="1"/>
              <a:t>odit</a:t>
            </a:r>
            <a:r>
              <a:rPr lang="en-GB"/>
              <a:t> </a:t>
            </a:r>
            <a:r>
              <a:rPr lang="en-GB" err="1"/>
              <a:t>aut</a:t>
            </a:r>
            <a:r>
              <a:rPr lang="en-GB"/>
              <a:t> fugit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quia</a:t>
            </a:r>
            <a:r>
              <a:rPr lang="en-GB"/>
              <a:t> </a:t>
            </a:r>
            <a:r>
              <a:rPr lang="en-GB" err="1"/>
              <a:t>consequuntur</a:t>
            </a:r>
            <a:r>
              <a:rPr lang="en-GB"/>
              <a:t> </a:t>
            </a:r>
            <a:r>
              <a:rPr lang="en-GB" err="1"/>
              <a:t>magni</a:t>
            </a:r>
            <a:r>
              <a:rPr lang="en-GB"/>
              <a:t> </a:t>
            </a:r>
            <a:r>
              <a:rPr lang="en-GB" err="1"/>
              <a:t>dolores</a:t>
            </a:r>
            <a:r>
              <a:rPr lang="en-GB"/>
              <a:t> </a:t>
            </a:r>
            <a:r>
              <a:rPr lang="en-GB" err="1"/>
              <a:t>eos</a:t>
            </a:r>
            <a:r>
              <a:rPr lang="en-GB"/>
              <a:t> qui </a:t>
            </a:r>
            <a:r>
              <a:rPr lang="en-GB" err="1"/>
              <a:t>ratione</a:t>
            </a:r>
            <a:r>
              <a:rPr lang="en-GB"/>
              <a:t> </a:t>
            </a:r>
            <a:r>
              <a:rPr lang="en-GB" err="1"/>
              <a:t>voluptatem</a:t>
            </a:r>
            <a:r>
              <a:rPr lang="en-GB"/>
              <a:t> </a:t>
            </a:r>
            <a:r>
              <a:rPr lang="en-GB" err="1"/>
              <a:t>sequi</a:t>
            </a:r>
            <a:r>
              <a:rPr lang="en-GB"/>
              <a:t> </a:t>
            </a:r>
            <a:r>
              <a:rPr lang="en-GB" err="1"/>
              <a:t>nesciunt</a:t>
            </a:r>
            <a:r>
              <a:rPr lang="en-GB"/>
              <a:t>. </a:t>
            </a:r>
            <a:r>
              <a:rPr lang="en-GB" err="1"/>
              <a:t>Neque</a:t>
            </a:r>
            <a:r>
              <a:rPr lang="en-GB"/>
              <a:t> </a:t>
            </a:r>
            <a:r>
              <a:rPr lang="en-GB" err="1"/>
              <a:t>porro</a:t>
            </a:r>
            <a:r>
              <a:rPr lang="en-GB"/>
              <a:t> </a:t>
            </a:r>
            <a:r>
              <a:rPr lang="en-GB" err="1"/>
              <a:t>quisquam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, qui </a:t>
            </a:r>
            <a:r>
              <a:rPr lang="en-GB" err="1"/>
              <a:t>dolorem</a:t>
            </a:r>
            <a:r>
              <a:rPr lang="en-GB"/>
              <a:t> ipsum </a:t>
            </a:r>
            <a:r>
              <a:rPr lang="en-GB" err="1"/>
              <a:t>quia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, </a:t>
            </a:r>
            <a:r>
              <a:rPr lang="en-GB" err="1"/>
              <a:t>adipisci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quia</a:t>
            </a:r>
            <a:r>
              <a:rPr lang="en-GB"/>
              <a:t> non </a:t>
            </a:r>
            <a:r>
              <a:rPr lang="en-GB" err="1"/>
              <a:t>numquam</a:t>
            </a:r>
            <a:r>
              <a:rPr lang="en-GB"/>
              <a:t> </a:t>
            </a:r>
            <a:r>
              <a:rPr lang="en-GB" err="1"/>
              <a:t>eius</a:t>
            </a:r>
            <a:r>
              <a:rPr lang="en-GB"/>
              <a:t> </a:t>
            </a:r>
            <a:r>
              <a:rPr lang="en-GB" err="1"/>
              <a:t>modi</a:t>
            </a:r>
            <a:r>
              <a:rPr lang="en-GB"/>
              <a:t> </a:t>
            </a:r>
            <a:r>
              <a:rPr lang="en-GB" err="1"/>
              <a:t>tempora</a:t>
            </a:r>
            <a:r>
              <a:rPr lang="en-GB"/>
              <a:t> </a:t>
            </a:r>
            <a:r>
              <a:rPr lang="en-GB" err="1"/>
              <a:t>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labore et dolore </a:t>
            </a:r>
            <a:r>
              <a:rPr lang="en-GB" err="1"/>
              <a:t>magnam</a:t>
            </a:r>
            <a:r>
              <a:rPr lang="en-GB"/>
              <a:t>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quaerat</a:t>
            </a:r>
            <a:r>
              <a:rPr lang="en-GB"/>
              <a:t> </a:t>
            </a:r>
            <a:r>
              <a:rPr lang="en-GB" err="1"/>
              <a:t>voluptatem</a:t>
            </a:r>
            <a:r>
              <a:rPr lang="en-GB"/>
              <a:t>.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A46896B8-2F78-CBAA-4C2C-358B3DF25EF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111661" y="1734262"/>
            <a:ext cx="17906086" cy="6780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298">
                <a:solidFill>
                  <a:schemeClr val="accent2"/>
                </a:solidFill>
              </a:defRPr>
            </a:lvl1pPr>
            <a:lvl2pPr marL="753923" indent="0">
              <a:buNone/>
              <a:defRPr/>
            </a:lvl2pPr>
            <a:lvl3pPr marL="1507846" indent="0">
              <a:buNone/>
              <a:defRPr/>
            </a:lvl3pPr>
            <a:lvl4pPr marL="2261768" indent="0">
              <a:buNone/>
              <a:defRPr/>
            </a:lvl4pPr>
            <a:lvl5pPr marL="3015691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Sub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40534275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Rippl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Graphic 2">
            <a:extLst>
              <a:ext uri="{FF2B5EF4-FFF2-40B4-BE49-F238E27FC236}">
                <a16:creationId xmlns:a16="http://schemas.microsoft.com/office/drawing/2014/main" id="{240D5921-FD2C-1B1F-1965-9B2EA10E80F6}"/>
              </a:ext>
            </a:extLst>
          </p:cNvPr>
          <p:cNvSpPr/>
          <p:nvPr userDrawn="1"/>
        </p:nvSpPr>
        <p:spPr>
          <a:xfrm>
            <a:off x="-5814479" y="-708382"/>
            <a:ext cx="12990187" cy="13018884"/>
          </a:xfrm>
          <a:custGeom>
            <a:avLst/>
            <a:gdLst>
              <a:gd name="connsiteX0" fmla="*/ 1633956 w 7877814"/>
              <a:gd name="connsiteY0" fmla="*/ 6842469 h 7894663"/>
              <a:gd name="connsiteX1" fmla="*/ 1685582 w 7877814"/>
              <a:gd name="connsiteY1" fmla="*/ 7013474 h 7894663"/>
              <a:gd name="connsiteX2" fmla="*/ 1462760 w 7877814"/>
              <a:gd name="connsiteY2" fmla="*/ 7017093 h 7894663"/>
              <a:gd name="connsiteX3" fmla="*/ 1336586 w 7877814"/>
              <a:gd name="connsiteY3" fmla="*/ 6786652 h 7894663"/>
              <a:gd name="connsiteX4" fmla="*/ 1633956 w 7877814"/>
              <a:gd name="connsiteY4" fmla="*/ 6842469 h 7894663"/>
              <a:gd name="connsiteX5" fmla="*/ 5700814 w 7877814"/>
              <a:gd name="connsiteY5" fmla="*/ 3781768 h 7894663"/>
              <a:gd name="connsiteX6" fmla="*/ 5549430 w 7877814"/>
              <a:gd name="connsiteY6" fmla="*/ 4357015 h 7894663"/>
              <a:gd name="connsiteX7" fmla="*/ 4782604 w 7877814"/>
              <a:gd name="connsiteY7" fmla="*/ 4800880 h 7894663"/>
              <a:gd name="connsiteX8" fmla="*/ 4590135 w 7877814"/>
              <a:gd name="connsiteY8" fmla="*/ 4821009 h 7894663"/>
              <a:gd name="connsiteX9" fmla="*/ 3790480 w 7877814"/>
              <a:gd name="connsiteY9" fmla="*/ 4330916 h 7894663"/>
              <a:gd name="connsiteX10" fmla="*/ 4238663 w 7877814"/>
              <a:gd name="connsiteY10" fmla="*/ 2991193 h 7894663"/>
              <a:gd name="connsiteX11" fmla="*/ 5140172 w 7877814"/>
              <a:gd name="connsiteY11" fmla="*/ 3049042 h 7894663"/>
              <a:gd name="connsiteX12" fmla="*/ 5700687 w 7877814"/>
              <a:gd name="connsiteY12" fmla="*/ 3780752 h 7894663"/>
              <a:gd name="connsiteX13" fmla="*/ 5700814 w 7877814"/>
              <a:gd name="connsiteY13" fmla="*/ 3781768 h 7894663"/>
              <a:gd name="connsiteX14" fmla="*/ 5426684 w 7877814"/>
              <a:gd name="connsiteY14" fmla="*/ 3824948 h 7894663"/>
              <a:gd name="connsiteX15" fmla="*/ 4826482 w 7877814"/>
              <a:gd name="connsiteY15" fmla="*/ 3248686 h 7894663"/>
              <a:gd name="connsiteX16" fmla="*/ 4648365 w 7877814"/>
              <a:gd name="connsiteY16" fmla="*/ 3226842 h 7894663"/>
              <a:gd name="connsiteX17" fmla="*/ 4195991 w 7877814"/>
              <a:gd name="connsiteY17" fmla="*/ 3445980 h 7894663"/>
              <a:gd name="connsiteX18" fmla="*/ 4111980 w 7877814"/>
              <a:gd name="connsiteY18" fmla="*/ 4197566 h 7894663"/>
              <a:gd name="connsiteX19" fmla="*/ 4600296 w 7877814"/>
              <a:gd name="connsiteY19" fmla="*/ 4497858 h 7894663"/>
              <a:gd name="connsiteX20" fmla="*/ 5293207 w 7877814"/>
              <a:gd name="connsiteY20" fmla="*/ 4222966 h 7894663"/>
              <a:gd name="connsiteX21" fmla="*/ 5426684 w 7877814"/>
              <a:gd name="connsiteY21" fmla="*/ 3824948 h 7894663"/>
              <a:gd name="connsiteX22" fmla="*/ 5997486 w 7877814"/>
              <a:gd name="connsiteY22" fmla="*/ 3368320 h 7894663"/>
              <a:gd name="connsiteX23" fmla="*/ 5628932 w 7877814"/>
              <a:gd name="connsiteY23" fmla="*/ 5247158 h 7894663"/>
              <a:gd name="connsiteX24" fmla="*/ 4546892 w 7877814"/>
              <a:gd name="connsiteY24" fmla="*/ 5672481 h 7894663"/>
              <a:gd name="connsiteX25" fmla="*/ 4177703 w 7877814"/>
              <a:gd name="connsiteY25" fmla="*/ 5633175 h 7894663"/>
              <a:gd name="connsiteX26" fmla="*/ 2810611 w 7877814"/>
              <a:gd name="connsiteY26" fmla="*/ 4524465 h 7894663"/>
              <a:gd name="connsiteX27" fmla="*/ 2818231 w 7877814"/>
              <a:gd name="connsiteY27" fmla="*/ 3185186 h 7894663"/>
              <a:gd name="connsiteX28" fmla="*/ 3821912 w 7877814"/>
              <a:gd name="connsiteY28" fmla="*/ 2240369 h 7894663"/>
              <a:gd name="connsiteX29" fmla="*/ 5061305 w 7877814"/>
              <a:gd name="connsiteY29" fmla="*/ 2298472 h 7894663"/>
              <a:gd name="connsiteX30" fmla="*/ 5997486 w 7877814"/>
              <a:gd name="connsiteY30" fmla="*/ 3368320 h 7894663"/>
              <a:gd name="connsiteX31" fmla="*/ 5912777 w 7877814"/>
              <a:gd name="connsiteY31" fmla="*/ 3399498 h 7894663"/>
              <a:gd name="connsiteX32" fmla="*/ 5912523 w 7877814"/>
              <a:gd name="connsiteY32" fmla="*/ 3398736 h 7894663"/>
              <a:gd name="connsiteX33" fmla="*/ 4501108 w 7877814"/>
              <a:gd name="connsiteY33" fmla="*/ 2482050 h 7894663"/>
              <a:gd name="connsiteX34" fmla="*/ 4494314 w 7877814"/>
              <a:gd name="connsiteY34" fmla="*/ 2481987 h 7894663"/>
              <a:gd name="connsiteX35" fmla="*/ 3261207 w 7877814"/>
              <a:gd name="connsiteY35" fmla="*/ 3086951 h 7894663"/>
              <a:gd name="connsiteX36" fmla="*/ 3013240 w 7877814"/>
              <a:gd name="connsiteY36" fmla="*/ 4451821 h 7894663"/>
              <a:gd name="connsiteX37" fmla="*/ 3741966 w 7877814"/>
              <a:gd name="connsiteY37" fmla="*/ 5315294 h 7894663"/>
              <a:gd name="connsiteX38" fmla="*/ 4931575 w 7877814"/>
              <a:gd name="connsiteY38" fmla="*/ 5321072 h 7894663"/>
              <a:gd name="connsiteX39" fmla="*/ 5912777 w 7877814"/>
              <a:gd name="connsiteY39" fmla="*/ 3399498 h 7894663"/>
              <a:gd name="connsiteX40" fmla="*/ 4262602 w 7877814"/>
              <a:gd name="connsiteY40" fmla="*/ 6675146 h 7894663"/>
              <a:gd name="connsiteX41" fmla="*/ 3281464 w 7877814"/>
              <a:gd name="connsiteY41" fmla="*/ 6477216 h 7894663"/>
              <a:gd name="connsiteX42" fmla="*/ 1713458 w 7877814"/>
              <a:gd name="connsiteY42" fmla="*/ 2859304 h 7894663"/>
              <a:gd name="connsiteX43" fmla="*/ 3898938 w 7877814"/>
              <a:gd name="connsiteY43" fmla="*/ 1053046 h 7894663"/>
              <a:gd name="connsiteX44" fmla="*/ 6510439 w 7877814"/>
              <a:gd name="connsiteY44" fmla="*/ 2126768 h 7894663"/>
              <a:gd name="connsiteX45" fmla="*/ 6815112 w 7877814"/>
              <a:gd name="connsiteY45" fmla="*/ 4833265 h 7894663"/>
              <a:gd name="connsiteX46" fmla="*/ 5273141 w 7877814"/>
              <a:gd name="connsiteY46" fmla="*/ 6465025 h 7894663"/>
              <a:gd name="connsiteX47" fmla="*/ 4262602 w 7877814"/>
              <a:gd name="connsiteY47" fmla="*/ 6675146 h 7894663"/>
              <a:gd name="connsiteX48" fmla="*/ 6733705 w 7877814"/>
              <a:gd name="connsiteY48" fmla="*/ 4801388 h 7894663"/>
              <a:gd name="connsiteX49" fmla="*/ 6350737 w 7877814"/>
              <a:gd name="connsiteY49" fmla="*/ 2408771 h 7894663"/>
              <a:gd name="connsiteX50" fmla="*/ 4279874 w 7877814"/>
              <a:gd name="connsiteY50" fmla="*/ 1368959 h 7894663"/>
              <a:gd name="connsiteX51" fmla="*/ 3964025 w 7877814"/>
              <a:gd name="connsiteY51" fmla="*/ 1388136 h 7894663"/>
              <a:gd name="connsiteX52" fmla="*/ 1909165 w 7877814"/>
              <a:gd name="connsiteY52" fmla="*/ 2935631 h 7894663"/>
              <a:gd name="connsiteX53" fmla="*/ 2529052 w 7877814"/>
              <a:gd name="connsiteY53" fmla="*/ 5708422 h 7894663"/>
              <a:gd name="connsiteX54" fmla="*/ 5001679 w 7877814"/>
              <a:gd name="connsiteY54" fmla="*/ 6283859 h 7894663"/>
              <a:gd name="connsiteX55" fmla="*/ 6733578 w 7877814"/>
              <a:gd name="connsiteY55" fmla="*/ 4801833 h 7894663"/>
              <a:gd name="connsiteX56" fmla="*/ 6733705 w 7877814"/>
              <a:gd name="connsiteY56" fmla="*/ 4801388 h 7894663"/>
              <a:gd name="connsiteX57" fmla="*/ 294043 w 7877814"/>
              <a:gd name="connsiteY57" fmla="*/ 3817773 h 7894663"/>
              <a:gd name="connsiteX58" fmla="*/ 1613700 w 7877814"/>
              <a:gd name="connsiteY58" fmla="*/ 1293521 h 7894663"/>
              <a:gd name="connsiteX59" fmla="*/ 4274286 w 7877814"/>
              <a:gd name="connsiteY59" fmla="*/ 297587 h 7894663"/>
              <a:gd name="connsiteX60" fmla="*/ 6802475 w 7877814"/>
              <a:gd name="connsiteY60" fmla="*/ 1475829 h 7894663"/>
              <a:gd name="connsiteX61" fmla="*/ 6848513 w 7877814"/>
              <a:gd name="connsiteY61" fmla="*/ 1500531 h 7894663"/>
              <a:gd name="connsiteX62" fmla="*/ 6901154 w 7877814"/>
              <a:gd name="connsiteY62" fmla="*/ 1482751 h 7894663"/>
              <a:gd name="connsiteX63" fmla="*/ 6922046 w 7877814"/>
              <a:gd name="connsiteY63" fmla="*/ 1431887 h 7894663"/>
              <a:gd name="connsiteX64" fmla="*/ 6902869 w 7877814"/>
              <a:gd name="connsiteY64" fmla="*/ 1386358 h 7894663"/>
              <a:gd name="connsiteX65" fmla="*/ 3796639 w 7877814"/>
              <a:gd name="connsiteY65" fmla="*/ 1296 h 7894663"/>
              <a:gd name="connsiteX66" fmla="*/ 802551 w 7877814"/>
              <a:gd name="connsiteY66" fmla="*/ 1540091 h 7894663"/>
              <a:gd name="connsiteX67" fmla="*/ 996416 w 7877814"/>
              <a:gd name="connsiteY67" fmla="*/ 6555258 h 7894663"/>
              <a:gd name="connsiteX68" fmla="*/ 1025880 w 7877814"/>
              <a:gd name="connsiteY68" fmla="*/ 6587770 h 7894663"/>
              <a:gd name="connsiteX69" fmla="*/ 1040930 w 7877814"/>
              <a:gd name="connsiteY69" fmla="*/ 6604216 h 7894663"/>
              <a:gd name="connsiteX70" fmla="*/ 1048677 w 7877814"/>
              <a:gd name="connsiteY70" fmla="*/ 6608725 h 7894663"/>
              <a:gd name="connsiteX71" fmla="*/ 1093190 w 7877814"/>
              <a:gd name="connsiteY71" fmla="*/ 6620600 h 7894663"/>
              <a:gd name="connsiteX72" fmla="*/ 1117130 w 7877814"/>
              <a:gd name="connsiteY72" fmla="*/ 6617234 h 7894663"/>
              <a:gd name="connsiteX73" fmla="*/ 1167358 w 7877814"/>
              <a:gd name="connsiteY73" fmla="*/ 6577229 h 7894663"/>
              <a:gd name="connsiteX74" fmla="*/ 1155420 w 7877814"/>
              <a:gd name="connsiteY74" fmla="*/ 6482233 h 7894663"/>
              <a:gd name="connsiteX75" fmla="*/ 294043 w 7877814"/>
              <a:gd name="connsiteY75" fmla="*/ 3817773 h 7894663"/>
              <a:gd name="connsiteX76" fmla="*/ 7870673 w 7877814"/>
              <a:gd name="connsiteY76" fmla="*/ 3766973 h 7894663"/>
              <a:gd name="connsiteX77" fmla="*/ 7868132 w 7877814"/>
              <a:gd name="connsiteY77" fmla="*/ 3753257 h 7894663"/>
              <a:gd name="connsiteX78" fmla="*/ 7787234 w 7877814"/>
              <a:gd name="connsiteY78" fmla="*/ 3692487 h 7894663"/>
              <a:gd name="connsiteX79" fmla="*/ 7727798 w 7877814"/>
              <a:gd name="connsiteY79" fmla="*/ 3723666 h 7894663"/>
              <a:gd name="connsiteX80" fmla="*/ 7709891 w 7877814"/>
              <a:gd name="connsiteY80" fmla="*/ 3790595 h 7894663"/>
              <a:gd name="connsiteX81" fmla="*/ 7215162 w 7877814"/>
              <a:gd name="connsiteY81" fmla="*/ 5777129 h 7894663"/>
              <a:gd name="connsiteX82" fmla="*/ 4171670 w 7877814"/>
              <a:gd name="connsiteY82" fmla="*/ 7712228 h 7894663"/>
              <a:gd name="connsiteX83" fmla="*/ 4090454 w 7877814"/>
              <a:gd name="connsiteY83" fmla="*/ 7812939 h 7894663"/>
              <a:gd name="connsiteX84" fmla="*/ 4166336 w 7877814"/>
              <a:gd name="connsiteY84" fmla="*/ 7893457 h 7894663"/>
              <a:gd name="connsiteX85" fmla="*/ 4172877 w 7877814"/>
              <a:gd name="connsiteY85" fmla="*/ 7894664 h 7894663"/>
              <a:gd name="connsiteX86" fmla="*/ 4179481 w 7877814"/>
              <a:gd name="connsiteY86" fmla="*/ 7894346 h 7894663"/>
              <a:gd name="connsiteX87" fmla="*/ 4463643 w 7877814"/>
              <a:gd name="connsiteY87" fmla="*/ 7870406 h 7894663"/>
              <a:gd name="connsiteX88" fmla="*/ 7021614 w 7877814"/>
              <a:gd name="connsiteY88" fmla="*/ 6456515 h 7894663"/>
              <a:gd name="connsiteX89" fmla="*/ 7870673 w 7877814"/>
              <a:gd name="connsiteY89" fmla="*/ 3766973 h 7894663"/>
              <a:gd name="connsiteX90" fmla="*/ 7857592 w 7877814"/>
              <a:gd name="connsiteY90" fmla="*/ 3279293 h 7894663"/>
              <a:gd name="connsiteX91" fmla="*/ 7673378 w 7877814"/>
              <a:gd name="connsiteY91" fmla="*/ 2437219 h 7894663"/>
              <a:gd name="connsiteX92" fmla="*/ 7491578 w 7877814"/>
              <a:gd name="connsiteY92" fmla="*/ 2365401 h 7894663"/>
              <a:gd name="connsiteX93" fmla="*/ 7486180 w 7877814"/>
              <a:gd name="connsiteY93" fmla="*/ 2613432 h 7894663"/>
              <a:gd name="connsiteX94" fmla="*/ 7691920 w 7877814"/>
              <a:gd name="connsiteY94" fmla="*/ 3261005 h 7894663"/>
              <a:gd name="connsiteX95" fmla="*/ 7782535 w 7877814"/>
              <a:gd name="connsiteY95" fmla="*/ 3360319 h 7894663"/>
              <a:gd name="connsiteX96" fmla="*/ 7857592 w 7877814"/>
              <a:gd name="connsiteY96" fmla="*/ 3279293 h 7894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</a:cxnLst>
            <a:rect l="l" t="t" r="r" b="b"/>
            <a:pathLst>
              <a:path w="7877814" h="7894663">
                <a:moveTo>
                  <a:pt x="1633956" y="6842469"/>
                </a:moveTo>
                <a:cubicBezTo>
                  <a:pt x="1690535" y="6875615"/>
                  <a:pt x="1731746" y="6932829"/>
                  <a:pt x="1685582" y="7013474"/>
                </a:cubicBezTo>
                <a:cubicBezTo>
                  <a:pt x="1639417" y="7094119"/>
                  <a:pt x="1512735" y="7059702"/>
                  <a:pt x="1462760" y="7017093"/>
                </a:cubicBezTo>
                <a:cubicBezTo>
                  <a:pt x="1390180" y="6955308"/>
                  <a:pt x="1308519" y="6814783"/>
                  <a:pt x="1336586" y="6786652"/>
                </a:cubicBezTo>
                <a:cubicBezTo>
                  <a:pt x="1364716" y="6758521"/>
                  <a:pt x="1577378" y="6809321"/>
                  <a:pt x="1633956" y="6842469"/>
                </a:cubicBezTo>
                <a:close/>
                <a:moveTo>
                  <a:pt x="5700814" y="3781768"/>
                </a:moveTo>
                <a:cubicBezTo>
                  <a:pt x="5731231" y="3983635"/>
                  <a:pt x="5678843" y="4182580"/>
                  <a:pt x="5549430" y="4357015"/>
                </a:cubicBezTo>
                <a:cubicBezTo>
                  <a:pt x="5378424" y="4587457"/>
                  <a:pt x="5084610" y="4757509"/>
                  <a:pt x="4782604" y="4800880"/>
                </a:cubicBezTo>
                <a:cubicBezTo>
                  <a:pt x="4720818" y="4814278"/>
                  <a:pt x="4655985" y="4821009"/>
                  <a:pt x="4590135" y="4821009"/>
                </a:cubicBezTo>
                <a:cubicBezTo>
                  <a:pt x="4267047" y="4821009"/>
                  <a:pt x="3919512" y="4659211"/>
                  <a:pt x="3790480" y="4330916"/>
                </a:cubicBezTo>
                <a:cubicBezTo>
                  <a:pt x="3600424" y="3869906"/>
                  <a:pt x="3735044" y="3221254"/>
                  <a:pt x="4238663" y="2991193"/>
                </a:cubicBezTo>
                <a:cubicBezTo>
                  <a:pt x="4519206" y="2871686"/>
                  <a:pt x="4847564" y="2892768"/>
                  <a:pt x="5140172" y="3049042"/>
                </a:cubicBezTo>
                <a:cubicBezTo>
                  <a:pt x="5437860" y="3207919"/>
                  <a:pt x="5642140" y="3474682"/>
                  <a:pt x="5700687" y="3780752"/>
                </a:cubicBezTo>
                <a:lnTo>
                  <a:pt x="5700814" y="3781768"/>
                </a:lnTo>
                <a:close/>
                <a:moveTo>
                  <a:pt x="5426684" y="3824948"/>
                </a:moveTo>
                <a:cubicBezTo>
                  <a:pt x="5379187" y="3558820"/>
                  <a:pt x="5132489" y="3321838"/>
                  <a:pt x="4826482" y="3248686"/>
                </a:cubicBezTo>
                <a:cubicBezTo>
                  <a:pt x="4765205" y="3234017"/>
                  <a:pt x="4705515" y="3226842"/>
                  <a:pt x="4648365" y="3226842"/>
                </a:cubicBezTo>
                <a:cubicBezTo>
                  <a:pt x="4463008" y="3226842"/>
                  <a:pt x="4303496" y="3302661"/>
                  <a:pt x="4195991" y="3445980"/>
                </a:cubicBezTo>
                <a:cubicBezTo>
                  <a:pt x="4051084" y="3642259"/>
                  <a:pt x="4016476" y="3951377"/>
                  <a:pt x="4111980" y="4197566"/>
                </a:cubicBezTo>
                <a:cubicBezTo>
                  <a:pt x="4180624" y="4376255"/>
                  <a:pt x="4372267" y="4494048"/>
                  <a:pt x="4600296" y="4497858"/>
                </a:cubicBezTo>
                <a:cubicBezTo>
                  <a:pt x="4857597" y="4505415"/>
                  <a:pt x="5136743" y="4394544"/>
                  <a:pt x="5293207" y="4222966"/>
                </a:cubicBezTo>
                <a:cubicBezTo>
                  <a:pt x="5397601" y="4108349"/>
                  <a:pt x="5443766" y="3970808"/>
                  <a:pt x="5426684" y="3824948"/>
                </a:cubicBezTo>
                <a:close/>
                <a:moveTo>
                  <a:pt x="5997486" y="3368320"/>
                </a:moveTo>
                <a:cubicBezTo>
                  <a:pt x="6205893" y="3938613"/>
                  <a:pt x="6172809" y="4740619"/>
                  <a:pt x="5628932" y="5247158"/>
                </a:cubicBezTo>
                <a:cubicBezTo>
                  <a:pt x="5337149" y="5525161"/>
                  <a:pt x="4955641" y="5672481"/>
                  <a:pt x="4546892" y="5672481"/>
                </a:cubicBezTo>
                <a:cubicBezTo>
                  <a:pt x="4425671" y="5672481"/>
                  <a:pt x="4302036" y="5659527"/>
                  <a:pt x="4177703" y="5633175"/>
                </a:cubicBezTo>
                <a:cubicBezTo>
                  <a:pt x="3564293" y="5503317"/>
                  <a:pt x="3040481" y="5078439"/>
                  <a:pt x="2810611" y="4524465"/>
                </a:cubicBezTo>
                <a:cubicBezTo>
                  <a:pt x="2626017" y="4110254"/>
                  <a:pt x="2628684" y="3621875"/>
                  <a:pt x="2818231" y="3185186"/>
                </a:cubicBezTo>
                <a:cubicBezTo>
                  <a:pt x="3012605" y="2737320"/>
                  <a:pt x="3378428" y="2392960"/>
                  <a:pt x="3821912" y="2240369"/>
                </a:cubicBezTo>
                <a:cubicBezTo>
                  <a:pt x="4240060" y="2091271"/>
                  <a:pt x="4668685" y="2111337"/>
                  <a:pt x="5061305" y="2298472"/>
                </a:cubicBezTo>
                <a:cubicBezTo>
                  <a:pt x="5487771" y="2501799"/>
                  <a:pt x="5828957" y="2891752"/>
                  <a:pt x="5997486" y="3368320"/>
                </a:cubicBezTo>
                <a:close/>
                <a:moveTo>
                  <a:pt x="5912777" y="3399498"/>
                </a:moveTo>
                <a:lnTo>
                  <a:pt x="5912523" y="3398736"/>
                </a:lnTo>
                <a:cubicBezTo>
                  <a:pt x="5721642" y="2853716"/>
                  <a:pt x="5139918" y="2475700"/>
                  <a:pt x="4501108" y="2482050"/>
                </a:cubicBezTo>
                <a:cubicBezTo>
                  <a:pt x="4498886" y="2481987"/>
                  <a:pt x="4496536" y="2481987"/>
                  <a:pt x="4494314" y="2481987"/>
                </a:cubicBezTo>
                <a:cubicBezTo>
                  <a:pt x="4001427" y="2481987"/>
                  <a:pt x="3552482" y="2702205"/>
                  <a:pt x="3261207" y="3086951"/>
                </a:cubicBezTo>
                <a:cubicBezTo>
                  <a:pt x="2967456" y="3474936"/>
                  <a:pt x="2877096" y="3972396"/>
                  <a:pt x="3013240" y="4451821"/>
                </a:cubicBezTo>
                <a:cubicBezTo>
                  <a:pt x="3127349" y="4841393"/>
                  <a:pt x="3386175" y="5148161"/>
                  <a:pt x="3741966" y="5315294"/>
                </a:cubicBezTo>
                <a:cubicBezTo>
                  <a:pt x="4108742" y="5487505"/>
                  <a:pt x="4542320" y="5489665"/>
                  <a:pt x="4931575" y="5321072"/>
                </a:cubicBezTo>
                <a:cubicBezTo>
                  <a:pt x="5634965" y="5040720"/>
                  <a:pt x="6210401" y="4182834"/>
                  <a:pt x="5912777" y="3399498"/>
                </a:cubicBezTo>
                <a:close/>
                <a:moveTo>
                  <a:pt x="4262602" y="6675146"/>
                </a:moveTo>
                <a:cubicBezTo>
                  <a:pt x="3930307" y="6675146"/>
                  <a:pt x="3598138" y="6609233"/>
                  <a:pt x="3281464" y="6477216"/>
                </a:cubicBezTo>
                <a:cubicBezTo>
                  <a:pt x="1930755" y="5919814"/>
                  <a:pt x="1212634" y="4262971"/>
                  <a:pt x="1713458" y="2859304"/>
                </a:cubicBezTo>
                <a:cubicBezTo>
                  <a:pt x="2049437" y="1884960"/>
                  <a:pt x="2866491" y="1209574"/>
                  <a:pt x="3898938" y="1053046"/>
                </a:cubicBezTo>
                <a:cubicBezTo>
                  <a:pt x="4927384" y="897217"/>
                  <a:pt x="5903633" y="1298474"/>
                  <a:pt x="6510439" y="2126768"/>
                </a:cubicBezTo>
                <a:cubicBezTo>
                  <a:pt x="7051713" y="2866352"/>
                  <a:pt x="7171284" y="3928707"/>
                  <a:pt x="6815112" y="4833265"/>
                </a:cubicBezTo>
                <a:cubicBezTo>
                  <a:pt x="6534061" y="5569611"/>
                  <a:pt x="5972022" y="6164415"/>
                  <a:pt x="5273141" y="6465025"/>
                </a:cubicBezTo>
                <a:cubicBezTo>
                  <a:pt x="4947640" y="6605042"/>
                  <a:pt x="4604994" y="6675146"/>
                  <a:pt x="4262602" y="6675146"/>
                </a:cubicBezTo>
                <a:close/>
                <a:moveTo>
                  <a:pt x="6733705" y="4801388"/>
                </a:moveTo>
                <a:cubicBezTo>
                  <a:pt x="7037934" y="4033673"/>
                  <a:pt x="6887629" y="3094444"/>
                  <a:pt x="6350737" y="2408771"/>
                </a:cubicBezTo>
                <a:cubicBezTo>
                  <a:pt x="5842927" y="1744180"/>
                  <a:pt x="5085626" y="1368959"/>
                  <a:pt x="4279874" y="1368959"/>
                </a:cubicBezTo>
                <a:cubicBezTo>
                  <a:pt x="4175226" y="1368959"/>
                  <a:pt x="4069880" y="1375309"/>
                  <a:pt x="3964025" y="1388136"/>
                </a:cubicBezTo>
                <a:cubicBezTo>
                  <a:pt x="3052102" y="1498753"/>
                  <a:pt x="2283942" y="2077238"/>
                  <a:pt x="1909165" y="2935631"/>
                </a:cubicBezTo>
                <a:cubicBezTo>
                  <a:pt x="1487779" y="3879812"/>
                  <a:pt x="1748510" y="5045800"/>
                  <a:pt x="2529052" y="5708422"/>
                </a:cubicBezTo>
                <a:cubicBezTo>
                  <a:pt x="3171101" y="6280811"/>
                  <a:pt x="4118267" y="6501092"/>
                  <a:pt x="5001679" y="6283859"/>
                </a:cubicBezTo>
                <a:cubicBezTo>
                  <a:pt x="5822607" y="6081929"/>
                  <a:pt x="6453860" y="5541798"/>
                  <a:pt x="6733578" y="4801833"/>
                </a:cubicBezTo>
                <a:lnTo>
                  <a:pt x="6733705" y="4801388"/>
                </a:lnTo>
                <a:close/>
                <a:moveTo>
                  <a:pt x="294043" y="3817773"/>
                </a:moveTo>
                <a:cubicBezTo>
                  <a:pt x="387515" y="2858605"/>
                  <a:pt x="856208" y="1962176"/>
                  <a:pt x="1613700" y="1293521"/>
                </a:cubicBezTo>
                <a:cubicBezTo>
                  <a:pt x="2369604" y="626199"/>
                  <a:pt x="3314103" y="271996"/>
                  <a:pt x="4274286" y="297587"/>
                </a:cubicBezTo>
                <a:cubicBezTo>
                  <a:pt x="5248694" y="322987"/>
                  <a:pt x="6146457" y="741388"/>
                  <a:pt x="6802475" y="1475829"/>
                </a:cubicBezTo>
                <a:cubicBezTo>
                  <a:pt x="6813906" y="1489863"/>
                  <a:pt x="6830415" y="1498753"/>
                  <a:pt x="6848513" y="1500531"/>
                </a:cubicBezTo>
                <a:cubicBezTo>
                  <a:pt x="6867817" y="1502499"/>
                  <a:pt x="6887185" y="1495895"/>
                  <a:pt x="6901154" y="1482751"/>
                </a:cubicBezTo>
                <a:cubicBezTo>
                  <a:pt x="6914998" y="1469670"/>
                  <a:pt x="6922617" y="1451128"/>
                  <a:pt x="6922046" y="1431887"/>
                </a:cubicBezTo>
                <a:cubicBezTo>
                  <a:pt x="6921538" y="1414742"/>
                  <a:pt x="6914617" y="1398550"/>
                  <a:pt x="6902869" y="1386358"/>
                </a:cubicBezTo>
                <a:cubicBezTo>
                  <a:pt x="6128106" y="475069"/>
                  <a:pt x="4996154" y="-29057"/>
                  <a:pt x="3796639" y="1296"/>
                </a:cubicBezTo>
                <a:cubicBezTo>
                  <a:pt x="2617698" y="31776"/>
                  <a:pt x="1526387" y="592671"/>
                  <a:pt x="802551" y="1540091"/>
                </a:cubicBezTo>
                <a:cubicBezTo>
                  <a:pt x="-337528" y="3019387"/>
                  <a:pt x="-254089" y="5175784"/>
                  <a:pt x="996416" y="6555258"/>
                </a:cubicBezTo>
                <a:cubicBezTo>
                  <a:pt x="1006068" y="6566244"/>
                  <a:pt x="1015974" y="6576975"/>
                  <a:pt x="1025880" y="6587770"/>
                </a:cubicBezTo>
                <a:lnTo>
                  <a:pt x="1040930" y="6604216"/>
                </a:lnTo>
                <a:lnTo>
                  <a:pt x="1048677" y="6608725"/>
                </a:lnTo>
                <a:cubicBezTo>
                  <a:pt x="1062329" y="6616535"/>
                  <a:pt x="1077760" y="6620600"/>
                  <a:pt x="1093190" y="6620600"/>
                </a:cubicBezTo>
                <a:cubicBezTo>
                  <a:pt x="1101255" y="6620600"/>
                  <a:pt x="1109383" y="6619520"/>
                  <a:pt x="1117130" y="6617234"/>
                </a:cubicBezTo>
                <a:cubicBezTo>
                  <a:pt x="1138783" y="6611011"/>
                  <a:pt x="1157071" y="6596470"/>
                  <a:pt x="1167358" y="6577229"/>
                </a:cubicBezTo>
                <a:cubicBezTo>
                  <a:pt x="1183233" y="6547384"/>
                  <a:pt x="1178915" y="6510554"/>
                  <a:pt x="1155420" y="6482233"/>
                </a:cubicBezTo>
                <a:cubicBezTo>
                  <a:pt x="505053" y="5737822"/>
                  <a:pt x="199174" y="4791546"/>
                  <a:pt x="294043" y="3817773"/>
                </a:cubicBezTo>
                <a:close/>
                <a:moveTo>
                  <a:pt x="7870673" y="3766973"/>
                </a:moveTo>
                <a:lnTo>
                  <a:pt x="7868132" y="3753257"/>
                </a:lnTo>
                <a:cubicBezTo>
                  <a:pt x="7856639" y="3716173"/>
                  <a:pt x="7823238" y="3690836"/>
                  <a:pt x="7787234" y="3692487"/>
                </a:cubicBezTo>
                <a:cubicBezTo>
                  <a:pt x="7764310" y="3693313"/>
                  <a:pt x="7742656" y="3704679"/>
                  <a:pt x="7727798" y="3723666"/>
                </a:cubicBezTo>
                <a:cubicBezTo>
                  <a:pt x="7713002" y="3742525"/>
                  <a:pt x="7706652" y="3766655"/>
                  <a:pt x="7709891" y="3790595"/>
                </a:cubicBezTo>
                <a:cubicBezTo>
                  <a:pt x="7730084" y="4495508"/>
                  <a:pt x="7559205" y="5182134"/>
                  <a:pt x="7215162" y="5777129"/>
                </a:cubicBezTo>
                <a:cubicBezTo>
                  <a:pt x="6587591" y="6893586"/>
                  <a:pt x="5451068" y="7616851"/>
                  <a:pt x="4171670" y="7712228"/>
                </a:cubicBezTo>
                <a:cubicBezTo>
                  <a:pt x="4121823" y="7718832"/>
                  <a:pt x="4085374" y="7763980"/>
                  <a:pt x="4090454" y="7812939"/>
                </a:cubicBezTo>
                <a:cubicBezTo>
                  <a:pt x="4094645" y="7852880"/>
                  <a:pt x="4125823" y="7885964"/>
                  <a:pt x="4166336" y="7893457"/>
                </a:cubicBezTo>
                <a:lnTo>
                  <a:pt x="4172877" y="7894664"/>
                </a:lnTo>
                <a:lnTo>
                  <a:pt x="4179481" y="7894346"/>
                </a:lnTo>
                <a:cubicBezTo>
                  <a:pt x="4275366" y="7889838"/>
                  <a:pt x="4371060" y="7881836"/>
                  <a:pt x="4463643" y="7870406"/>
                </a:cubicBezTo>
                <a:cubicBezTo>
                  <a:pt x="5484279" y="7747661"/>
                  <a:pt x="6392710" y="7245567"/>
                  <a:pt x="7021614" y="6456515"/>
                </a:cubicBezTo>
                <a:cubicBezTo>
                  <a:pt x="7627594" y="5696294"/>
                  <a:pt x="7929092" y="4741127"/>
                  <a:pt x="7870673" y="3766973"/>
                </a:cubicBezTo>
                <a:close/>
                <a:moveTo>
                  <a:pt x="7857592" y="3279293"/>
                </a:moveTo>
                <a:cubicBezTo>
                  <a:pt x="7891056" y="3143149"/>
                  <a:pt x="7842161" y="2638514"/>
                  <a:pt x="7673378" y="2437219"/>
                </a:cubicBezTo>
                <a:cubicBezTo>
                  <a:pt x="7621372" y="2375180"/>
                  <a:pt x="7560602" y="2323999"/>
                  <a:pt x="7491578" y="2365401"/>
                </a:cubicBezTo>
                <a:cubicBezTo>
                  <a:pt x="7399884" y="2420455"/>
                  <a:pt x="7418806" y="2520341"/>
                  <a:pt x="7486180" y="2613432"/>
                </a:cubicBezTo>
                <a:cubicBezTo>
                  <a:pt x="7599718" y="2770340"/>
                  <a:pt x="7686332" y="3124861"/>
                  <a:pt x="7691920" y="3261005"/>
                </a:cubicBezTo>
                <a:cubicBezTo>
                  <a:pt x="7694333" y="3319806"/>
                  <a:pt x="7734782" y="3359493"/>
                  <a:pt x="7782535" y="3360319"/>
                </a:cubicBezTo>
                <a:cubicBezTo>
                  <a:pt x="7830286" y="3361208"/>
                  <a:pt x="7843494" y="3336633"/>
                  <a:pt x="7857592" y="3279293"/>
                </a:cubicBezTo>
                <a:close/>
              </a:path>
            </a:pathLst>
          </a:custGeom>
          <a:solidFill>
            <a:srgbClr val="47DA86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2968"/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84C7A87B-E30C-524E-29BB-1119FF1703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70931" y="2146327"/>
            <a:ext cx="10646814" cy="2955340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719" b="1">
                <a:latin typeface="+mj-lt"/>
              </a:defRPr>
            </a:lvl1pPr>
          </a:lstStyle>
          <a:p>
            <a:pPr lvl="0"/>
            <a:r>
              <a:rPr lang="en-GB"/>
              <a:t>A captivating headline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C725042C-B958-997F-66D1-C2F1AD4B4C4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70930" y="5501999"/>
            <a:ext cx="10646816" cy="4071683"/>
          </a:xfrm>
        </p:spPr>
        <p:txBody>
          <a:bodyPr>
            <a:noAutofit/>
          </a:bodyPr>
          <a:lstStyle>
            <a:lvl1pPr marL="0" indent="0">
              <a:buNone/>
              <a:defRPr sz="2309" b="0"/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Duis autem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r>
              <a:rPr lang="en-GB"/>
              <a:t> in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esse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, </a:t>
            </a:r>
            <a:r>
              <a:rPr lang="en-GB" err="1"/>
              <a:t>vel</a:t>
            </a:r>
            <a:r>
              <a:rPr lang="en-GB"/>
              <a:t> illum dolore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feugiat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at </a:t>
            </a:r>
            <a:r>
              <a:rPr lang="en-GB" err="1"/>
              <a:t>vero</a:t>
            </a:r>
            <a:r>
              <a:rPr lang="en-GB"/>
              <a:t> eros et </a:t>
            </a:r>
            <a:r>
              <a:rPr lang="en-GB" err="1"/>
              <a:t>accumsan</a:t>
            </a:r>
            <a:r>
              <a:rPr lang="en-GB"/>
              <a:t> et </a:t>
            </a:r>
            <a:r>
              <a:rPr lang="en-GB" err="1"/>
              <a:t>iusto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qui </a:t>
            </a:r>
            <a:r>
              <a:rPr lang="en-GB" err="1"/>
              <a:t>blandit</a:t>
            </a:r>
            <a:r>
              <a:rPr lang="en-GB"/>
              <a:t> </a:t>
            </a:r>
            <a:r>
              <a:rPr lang="en-GB" err="1"/>
              <a:t>praesent</a:t>
            </a:r>
            <a:r>
              <a:rPr lang="en-GB"/>
              <a:t> </a:t>
            </a:r>
            <a:r>
              <a:rPr lang="en-GB" err="1"/>
              <a:t>luptatum</a:t>
            </a:r>
            <a:r>
              <a:rPr lang="en-GB"/>
              <a:t> </a:t>
            </a:r>
            <a:r>
              <a:rPr lang="en-GB" err="1"/>
              <a:t>zzril</a:t>
            </a:r>
            <a:r>
              <a:rPr lang="en-GB"/>
              <a:t> </a:t>
            </a:r>
            <a:r>
              <a:rPr lang="en-GB" err="1"/>
              <a:t>deleni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duis</a:t>
            </a:r>
            <a:r>
              <a:rPr lang="en-GB"/>
              <a:t> </a:t>
            </a:r>
            <a:r>
              <a:rPr lang="en-GB" err="1"/>
              <a:t>dolorete</a:t>
            </a:r>
            <a:r>
              <a:rPr lang="en-GB"/>
              <a:t> </a:t>
            </a:r>
            <a:r>
              <a:rPr lang="en-GB" err="1"/>
              <a:t>feugait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facilisi</a:t>
            </a:r>
            <a:r>
              <a:rPr lang="en-GB"/>
              <a:t>.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CBA512E-95CE-E3D0-1165-112A0F3F6CA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0994303E-A424-9540-91A8-53B791C91E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597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Rippl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84C7A87B-E30C-524E-29BB-1119FF1703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6356" y="2146327"/>
            <a:ext cx="10646814" cy="2955340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719" b="1">
                <a:latin typeface="+mj-lt"/>
              </a:defRPr>
            </a:lvl1pPr>
          </a:lstStyle>
          <a:p>
            <a:pPr lvl="0"/>
            <a:r>
              <a:rPr lang="en-GB"/>
              <a:t>A captivating headline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C725042C-B958-997F-66D1-C2F1AD4B4C4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86355" y="5501999"/>
            <a:ext cx="10646813" cy="4071683"/>
          </a:xfrm>
        </p:spPr>
        <p:txBody>
          <a:bodyPr>
            <a:noAutofit/>
          </a:bodyPr>
          <a:lstStyle>
            <a:lvl1pPr marL="0" indent="0">
              <a:buNone/>
              <a:defRPr sz="2309" b="0"/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Duis autem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r>
              <a:rPr lang="en-GB"/>
              <a:t> in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esse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, </a:t>
            </a:r>
            <a:r>
              <a:rPr lang="en-GB" err="1"/>
              <a:t>vel</a:t>
            </a:r>
            <a:r>
              <a:rPr lang="en-GB"/>
              <a:t> illum dolore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feugiat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at </a:t>
            </a:r>
            <a:r>
              <a:rPr lang="en-GB" err="1"/>
              <a:t>vero</a:t>
            </a:r>
            <a:r>
              <a:rPr lang="en-GB"/>
              <a:t> eros et </a:t>
            </a:r>
            <a:r>
              <a:rPr lang="en-GB" err="1"/>
              <a:t>accumsan</a:t>
            </a:r>
            <a:r>
              <a:rPr lang="en-GB"/>
              <a:t> et </a:t>
            </a:r>
            <a:r>
              <a:rPr lang="en-GB" err="1"/>
              <a:t>iusto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qui </a:t>
            </a:r>
            <a:r>
              <a:rPr lang="en-GB" err="1"/>
              <a:t>blandit</a:t>
            </a:r>
            <a:r>
              <a:rPr lang="en-GB"/>
              <a:t> </a:t>
            </a:r>
            <a:r>
              <a:rPr lang="en-GB" err="1"/>
              <a:t>praesent</a:t>
            </a:r>
            <a:r>
              <a:rPr lang="en-GB"/>
              <a:t> </a:t>
            </a:r>
            <a:r>
              <a:rPr lang="en-GB" err="1"/>
              <a:t>luptatum</a:t>
            </a:r>
            <a:r>
              <a:rPr lang="en-GB"/>
              <a:t> </a:t>
            </a:r>
            <a:r>
              <a:rPr lang="en-GB" err="1"/>
              <a:t>zzril</a:t>
            </a:r>
            <a:r>
              <a:rPr lang="en-GB"/>
              <a:t> </a:t>
            </a:r>
            <a:r>
              <a:rPr lang="en-GB" err="1"/>
              <a:t>deleni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duis</a:t>
            </a:r>
            <a:r>
              <a:rPr lang="en-GB"/>
              <a:t> </a:t>
            </a:r>
            <a:r>
              <a:rPr lang="en-GB" err="1"/>
              <a:t>dolorete</a:t>
            </a:r>
            <a:r>
              <a:rPr lang="en-GB"/>
              <a:t> </a:t>
            </a:r>
            <a:r>
              <a:rPr lang="en-GB" err="1"/>
              <a:t>feugait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facilisi</a:t>
            </a:r>
            <a:r>
              <a:rPr lang="en-GB"/>
              <a:t>.</a:t>
            </a:r>
          </a:p>
        </p:txBody>
      </p:sp>
      <p:sp>
        <p:nvSpPr>
          <p:cNvPr id="3" name="Graphic 2">
            <a:extLst>
              <a:ext uri="{FF2B5EF4-FFF2-40B4-BE49-F238E27FC236}">
                <a16:creationId xmlns:a16="http://schemas.microsoft.com/office/drawing/2014/main" id="{B25CF752-074D-9B3E-B631-8489DEFC32EC}"/>
              </a:ext>
            </a:extLst>
          </p:cNvPr>
          <p:cNvSpPr/>
          <p:nvPr userDrawn="1"/>
        </p:nvSpPr>
        <p:spPr>
          <a:xfrm>
            <a:off x="12522651" y="-708382"/>
            <a:ext cx="12990187" cy="13018884"/>
          </a:xfrm>
          <a:custGeom>
            <a:avLst/>
            <a:gdLst>
              <a:gd name="connsiteX0" fmla="*/ 1633956 w 7877814"/>
              <a:gd name="connsiteY0" fmla="*/ 6842469 h 7894663"/>
              <a:gd name="connsiteX1" fmla="*/ 1685582 w 7877814"/>
              <a:gd name="connsiteY1" fmla="*/ 7013474 h 7894663"/>
              <a:gd name="connsiteX2" fmla="*/ 1462760 w 7877814"/>
              <a:gd name="connsiteY2" fmla="*/ 7017093 h 7894663"/>
              <a:gd name="connsiteX3" fmla="*/ 1336586 w 7877814"/>
              <a:gd name="connsiteY3" fmla="*/ 6786652 h 7894663"/>
              <a:gd name="connsiteX4" fmla="*/ 1633956 w 7877814"/>
              <a:gd name="connsiteY4" fmla="*/ 6842469 h 7894663"/>
              <a:gd name="connsiteX5" fmla="*/ 5700814 w 7877814"/>
              <a:gd name="connsiteY5" fmla="*/ 3781768 h 7894663"/>
              <a:gd name="connsiteX6" fmla="*/ 5549430 w 7877814"/>
              <a:gd name="connsiteY6" fmla="*/ 4357015 h 7894663"/>
              <a:gd name="connsiteX7" fmla="*/ 4782604 w 7877814"/>
              <a:gd name="connsiteY7" fmla="*/ 4800880 h 7894663"/>
              <a:gd name="connsiteX8" fmla="*/ 4590135 w 7877814"/>
              <a:gd name="connsiteY8" fmla="*/ 4821009 h 7894663"/>
              <a:gd name="connsiteX9" fmla="*/ 3790480 w 7877814"/>
              <a:gd name="connsiteY9" fmla="*/ 4330916 h 7894663"/>
              <a:gd name="connsiteX10" fmla="*/ 4238663 w 7877814"/>
              <a:gd name="connsiteY10" fmla="*/ 2991193 h 7894663"/>
              <a:gd name="connsiteX11" fmla="*/ 5140172 w 7877814"/>
              <a:gd name="connsiteY11" fmla="*/ 3049042 h 7894663"/>
              <a:gd name="connsiteX12" fmla="*/ 5700687 w 7877814"/>
              <a:gd name="connsiteY12" fmla="*/ 3780752 h 7894663"/>
              <a:gd name="connsiteX13" fmla="*/ 5700814 w 7877814"/>
              <a:gd name="connsiteY13" fmla="*/ 3781768 h 7894663"/>
              <a:gd name="connsiteX14" fmla="*/ 5426684 w 7877814"/>
              <a:gd name="connsiteY14" fmla="*/ 3824948 h 7894663"/>
              <a:gd name="connsiteX15" fmla="*/ 4826482 w 7877814"/>
              <a:gd name="connsiteY15" fmla="*/ 3248686 h 7894663"/>
              <a:gd name="connsiteX16" fmla="*/ 4648365 w 7877814"/>
              <a:gd name="connsiteY16" fmla="*/ 3226842 h 7894663"/>
              <a:gd name="connsiteX17" fmla="*/ 4195991 w 7877814"/>
              <a:gd name="connsiteY17" fmla="*/ 3445980 h 7894663"/>
              <a:gd name="connsiteX18" fmla="*/ 4111980 w 7877814"/>
              <a:gd name="connsiteY18" fmla="*/ 4197566 h 7894663"/>
              <a:gd name="connsiteX19" fmla="*/ 4600296 w 7877814"/>
              <a:gd name="connsiteY19" fmla="*/ 4497858 h 7894663"/>
              <a:gd name="connsiteX20" fmla="*/ 5293207 w 7877814"/>
              <a:gd name="connsiteY20" fmla="*/ 4222966 h 7894663"/>
              <a:gd name="connsiteX21" fmla="*/ 5426684 w 7877814"/>
              <a:gd name="connsiteY21" fmla="*/ 3824948 h 7894663"/>
              <a:gd name="connsiteX22" fmla="*/ 5997486 w 7877814"/>
              <a:gd name="connsiteY22" fmla="*/ 3368320 h 7894663"/>
              <a:gd name="connsiteX23" fmla="*/ 5628932 w 7877814"/>
              <a:gd name="connsiteY23" fmla="*/ 5247158 h 7894663"/>
              <a:gd name="connsiteX24" fmla="*/ 4546892 w 7877814"/>
              <a:gd name="connsiteY24" fmla="*/ 5672481 h 7894663"/>
              <a:gd name="connsiteX25" fmla="*/ 4177703 w 7877814"/>
              <a:gd name="connsiteY25" fmla="*/ 5633175 h 7894663"/>
              <a:gd name="connsiteX26" fmla="*/ 2810611 w 7877814"/>
              <a:gd name="connsiteY26" fmla="*/ 4524465 h 7894663"/>
              <a:gd name="connsiteX27" fmla="*/ 2818231 w 7877814"/>
              <a:gd name="connsiteY27" fmla="*/ 3185186 h 7894663"/>
              <a:gd name="connsiteX28" fmla="*/ 3821912 w 7877814"/>
              <a:gd name="connsiteY28" fmla="*/ 2240369 h 7894663"/>
              <a:gd name="connsiteX29" fmla="*/ 5061305 w 7877814"/>
              <a:gd name="connsiteY29" fmla="*/ 2298472 h 7894663"/>
              <a:gd name="connsiteX30" fmla="*/ 5997486 w 7877814"/>
              <a:gd name="connsiteY30" fmla="*/ 3368320 h 7894663"/>
              <a:gd name="connsiteX31" fmla="*/ 5912777 w 7877814"/>
              <a:gd name="connsiteY31" fmla="*/ 3399498 h 7894663"/>
              <a:gd name="connsiteX32" fmla="*/ 5912523 w 7877814"/>
              <a:gd name="connsiteY32" fmla="*/ 3398736 h 7894663"/>
              <a:gd name="connsiteX33" fmla="*/ 4501108 w 7877814"/>
              <a:gd name="connsiteY33" fmla="*/ 2482050 h 7894663"/>
              <a:gd name="connsiteX34" fmla="*/ 4494314 w 7877814"/>
              <a:gd name="connsiteY34" fmla="*/ 2481987 h 7894663"/>
              <a:gd name="connsiteX35" fmla="*/ 3261207 w 7877814"/>
              <a:gd name="connsiteY35" fmla="*/ 3086951 h 7894663"/>
              <a:gd name="connsiteX36" fmla="*/ 3013240 w 7877814"/>
              <a:gd name="connsiteY36" fmla="*/ 4451821 h 7894663"/>
              <a:gd name="connsiteX37" fmla="*/ 3741966 w 7877814"/>
              <a:gd name="connsiteY37" fmla="*/ 5315294 h 7894663"/>
              <a:gd name="connsiteX38" fmla="*/ 4931575 w 7877814"/>
              <a:gd name="connsiteY38" fmla="*/ 5321072 h 7894663"/>
              <a:gd name="connsiteX39" fmla="*/ 5912777 w 7877814"/>
              <a:gd name="connsiteY39" fmla="*/ 3399498 h 7894663"/>
              <a:gd name="connsiteX40" fmla="*/ 4262602 w 7877814"/>
              <a:gd name="connsiteY40" fmla="*/ 6675146 h 7894663"/>
              <a:gd name="connsiteX41" fmla="*/ 3281464 w 7877814"/>
              <a:gd name="connsiteY41" fmla="*/ 6477216 h 7894663"/>
              <a:gd name="connsiteX42" fmla="*/ 1713458 w 7877814"/>
              <a:gd name="connsiteY42" fmla="*/ 2859304 h 7894663"/>
              <a:gd name="connsiteX43" fmla="*/ 3898938 w 7877814"/>
              <a:gd name="connsiteY43" fmla="*/ 1053046 h 7894663"/>
              <a:gd name="connsiteX44" fmla="*/ 6510439 w 7877814"/>
              <a:gd name="connsiteY44" fmla="*/ 2126768 h 7894663"/>
              <a:gd name="connsiteX45" fmla="*/ 6815112 w 7877814"/>
              <a:gd name="connsiteY45" fmla="*/ 4833265 h 7894663"/>
              <a:gd name="connsiteX46" fmla="*/ 5273141 w 7877814"/>
              <a:gd name="connsiteY46" fmla="*/ 6465025 h 7894663"/>
              <a:gd name="connsiteX47" fmla="*/ 4262602 w 7877814"/>
              <a:gd name="connsiteY47" fmla="*/ 6675146 h 7894663"/>
              <a:gd name="connsiteX48" fmla="*/ 6733705 w 7877814"/>
              <a:gd name="connsiteY48" fmla="*/ 4801388 h 7894663"/>
              <a:gd name="connsiteX49" fmla="*/ 6350737 w 7877814"/>
              <a:gd name="connsiteY49" fmla="*/ 2408771 h 7894663"/>
              <a:gd name="connsiteX50" fmla="*/ 4279874 w 7877814"/>
              <a:gd name="connsiteY50" fmla="*/ 1368959 h 7894663"/>
              <a:gd name="connsiteX51" fmla="*/ 3964025 w 7877814"/>
              <a:gd name="connsiteY51" fmla="*/ 1388136 h 7894663"/>
              <a:gd name="connsiteX52" fmla="*/ 1909165 w 7877814"/>
              <a:gd name="connsiteY52" fmla="*/ 2935631 h 7894663"/>
              <a:gd name="connsiteX53" fmla="*/ 2529052 w 7877814"/>
              <a:gd name="connsiteY53" fmla="*/ 5708422 h 7894663"/>
              <a:gd name="connsiteX54" fmla="*/ 5001679 w 7877814"/>
              <a:gd name="connsiteY54" fmla="*/ 6283859 h 7894663"/>
              <a:gd name="connsiteX55" fmla="*/ 6733578 w 7877814"/>
              <a:gd name="connsiteY55" fmla="*/ 4801833 h 7894663"/>
              <a:gd name="connsiteX56" fmla="*/ 6733705 w 7877814"/>
              <a:gd name="connsiteY56" fmla="*/ 4801388 h 7894663"/>
              <a:gd name="connsiteX57" fmla="*/ 294043 w 7877814"/>
              <a:gd name="connsiteY57" fmla="*/ 3817773 h 7894663"/>
              <a:gd name="connsiteX58" fmla="*/ 1613700 w 7877814"/>
              <a:gd name="connsiteY58" fmla="*/ 1293521 h 7894663"/>
              <a:gd name="connsiteX59" fmla="*/ 4274286 w 7877814"/>
              <a:gd name="connsiteY59" fmla="*/ 297587 h 7894663"/>
              <a:gd name="connsiteX60" fmla="*/ 6802475 w 7877814"/>
              <a:gd name="connsiteY60" fmla="*/ 1475829 h 7894663"/>
              <a:gd name="connsiteX61" fmla="*/ 6848513 w 7877814"/>
              <a:gd name="connsiteY61" fmla="*/ 1500531 h 7894663"/>
              <a:gd name="connsiteX62" fmla="*/ 6901154 w 7877814"/>
              <a:gd name="connsiteY62" fmla="*/ 1482751 h 7894663"/>
              <a:gd name="connsiteX63" fmla="*/ 6922046 w 7877814"/>
              <a:gd name="connsiteY63" fmla="*/ 1431887 h 7894663"/>
              <a:gd name="connsiteX64" fmla="*/ 6902869 w 7877814"/>
              <a:gd name="connsiteY64" fmla="*/ 1386358 h 7894663"/>
              <a:gd name="connsiteX65" fmla="*/ 3796639 w 7877814"/>
              <a:gd name="connsiteY65" fmla="*/ 1296 h 7894663"/>
              <a:gd name="connsiteX66" fmla="*/ 802551 w 7877814"/>
              <a:gd name="connsiteY66" fmla="*/ 1540091 h 7894663"/>
              <a:gd name="connsiteX67" fmla="*/ 996416 w 7877814"/>
              <a:gd name="connsiteY67" fmla="*/ 6555258 h 7894663"/>
              <a:gd name="connsiteX68" fmla="*/ 1025880 w 7877814"/>
              <a:gd name="connsiteY68" fmla="*/ 6587770 h 7894663"/>
              <a:gd name="connsiteX69" fmla="*/ 1040930 w 7877814"/>
              <a:gd name="connsiteY69" fmla="*/ 6604216 h 7894663"/>
              <a:gd name="connsiteX70" fmla="*/ 1048677 w 7877814"/>
              <a:gd name="connsiteY70" fmla="*/ 6608725 h 7894663"/>
              <a:gd name="connsiteX71" fmla="*/ 1093190 w 7877814"/>
              <a:gd name="connsiteY71" fmla="*/ 6620600 h 7894663"/>
              <a:gd name="connsiteX72" fmla="*/ 1117130 w 7877814"/>
              <a:gd name="connsiteY72" fmla="*/ 6617234 h 7894663"/>
              <a:gd name="connsiteX73" fmla="*/ 1167358 w 7877814"/>
              <a:gd name="connsiteY73" fmla="*/ 6577229 h 7894663"/>
              <a:gd name="connsiteX74" fmla="*/ 1155420 w 7877814"/>
              <a:gd name="connsiteY74" fmla="*/ 6482233 h 7894663"/>
              <a:gd name="connsiteX75" fmla="*/ 294043 w 7877814"/>
              <a:gd name="connsiteY75" fmla="*/ 3817773 h 7894663"/>
              <a:gd name="connsiteX76" fmla="*/ 7870673 w 7877814"/>
              <a:gd name="connsiteY76" fmla="*/ 3766973 h 7894663"/>
              <a:gd name="connsiteX77" fmla="*/ 7868132 w 7877814"/>
              <a:gd name="connsiteY77" fmla="*/ 3753257 h 7894663"/>
              <a:gd name="connsiteX78" fmla="*/ 7787234 w 7877814"/>
              <a:gd name="connsiteY78" fmla="*/ 3692487 h 7894663"/>
              <a:gd name="connsiteX79" fmla="*/ 7727798 w 7877814"/>
              <a:gd name="connsiteY79" fmla="*/ 3723666 h 7894663"/>
              <a:gd name="connsiteX80" fmla="*/ 7709891 w 7877814"/>
              <a:gd name="connsiteY80" fmla="*/ 3790595 h 7894663"/>
              <a:gd name="connsiteX81" fmla="*/ 7215162 w 7877814"/>
              <a:gd name="connsiteY81" fmla="*/ 5777129 h 7894663"/>
              <a:gd name="connsiteX82" fmla="*/ 4171670 w 7877814"/>
              <a:gd name="connsiteY82" fmla="*/ 7712228 h 7894663"/>
              <a:gd name="connsiteX83" fmla="*/ 4090454 w 7877814"/>
              <a:gd name="connsiteY83" fmla="*/ 7812939 h 7894663"/>
              <a:gd name="connsiteX84" fmla="*/ 4166336 w 7877814"/>
              <a:gd name="connsiteY84" fmla="*/ 7893457 h 7894663"/>
              <a:gd name="connsiteX85" fmla="*/ 4172877 w 7877814"/>
              <a:gd name="connsiteY85" fmla="*/ 7894664 h 7894663"/>
              <a:gd name="connsiteX86" fmla="*/ 4179481 w 7877814"/>
              <a:gd name="connsiteY86" fmla="*/ 7894346 h 7894663"/>
              <a:gd name="connsiteX87" fmla="*/ 4463643 w 7877814"/>
              <a:gd name="connsiteY87" fmla="*/ 7870406 h 7894663"/>
              <a:gd name="connsiteX88" fmla="*/ 7021614 w 7877814"/>
              <a:gd name="connsiteY88" fmla="*/ 6456515 h 7894663"/>
              <a:gd name="connsiteX89" fmla="*/ 7870673 w 7877814"/>
              <a:gd name="connsiteY89" fmla="*/ 3766973 h 7894663"/>
              <a:gd name="connsiteX90" fmla="*/ 7857592 w 7877814"/>
              <a:gd name="connsiteY90" fmla="*/ 3279293 h 7894663"/>
              <a:gd name="connsiteX91" fmla="*/ 7673378 w 7877814"/>
              <a:gd name="connsiteY91" fmla="*/ 2437219 h 7894663"/>
              <a:gd name="connsiteX92" fmla="*/ 7491578 w 7877814"/>
              <a:gd name="connsiteY92" fmla="*/ 2365401 h 7894663"/>
              <a:gd name="connsiteX93" fmla="*/ 7486180 w 7877814"/>
              <a:gd name="connsiteY93" fmla="*/ 2613432 h 7894663"/>
              <a:gd name="connsiteX94" fmla="*/ 7691920 w 7877814"/>
              <a:gd name="connsiteY94" fmla="*/ 3261005 h 7894663"/>
              <a:gd name="connsiteX95" fmla="*/ 7782535 w 7877814"/>
              <a:gd name="connsiteY95" fmla="*/ 3360319 h 7894663"/>
              <a:gd name="connsiteX96" fmla="*/ 7857592 w 7877814"/>
              <a:gd name="connsiteY96" fmla="*/ 3279293 h 7894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</a:cxnLst>
            <a:rect l="l" t="t" r="r" b="b"/>
            <a:pathLst>
              <a:path w="7877814" h="7894663">
                <a:moveTo>
                  <a:pt x="1633956" y="6842469"/>
                </a:moveTo>
                <a:cubicBezTo>
                  <a:pt x="1690535" y="6875615"/>
                  <a:pt x="1731746" y="6932829"/>
                  <a:pt x="1685582" y="7013474"/>
                </a:cubicBezTo>
                <a:cubicBezTo>
                  <a:pt x="1639417" y="7094119"/>
                  <a:pt x="1512735" y="7059702"/>
                  <a:pt x="1462760" y="7017093"/>
                </a:cubicBezTo>
                <a:cubicBezTo>
                  <a:pt x="1390180" y="6955308"/>
                  <a:pt x="1308519" y="6814783"/>
                  <a:pt x="1336586" y="6786652"/>
                </a:cubicBezTo>
                <a:cubicBezTo>
                  <a:pt x="1364716" y="6758521"/>
                  <a:pt x="1577378" y="6809321"/>
                  <a:pt x="1633956" y="6842469"/>
                </a:cubicBezTo>
                <a:close/>
                <a:moveTo>
                  <a:pt x="5700814" y="3781768"/>
                </a:moveTo>
                <a:cubicBezTo>
                  <a:pt x="5731231" y="3983635"/>
                  <a:pt x="5678843" y="4182580"/>
                  <a:pt x="5549430" y="4357015"/>
                </a:cubicBezTo>
                <a:cubicBezTo>
                  <a:pt x="5378424" y="4587457"/>
                  <a:pt x="5084610" y="4757509"/>
                  <a:pt x="4782604" y="4800880"/>
                </a:cubicBezTo>
                <a:cubicBezTo>
                  <a:pt x="4720818" y="4814278"/>
                  <a:pt x="4655985" y="4821009"/>
                  <a:pt x="4590135" y="4821009"/>
                </a:cubicBezTo>
                <a:cubicBezTo>
                  <a:pt x="4267047" y="4821009"/>
                  <a:pt x="3919512" y="4659211"/>
                  <a:pt x="3790480" y="4330916"/>
                </a:cubicBezTo>
                <a:cubicBezTo>
                  <a:pt x="3600424" y="3869906"/>
                  <a:pt x="3735044" y="3221254"/>
                  <a:pt x="4238663" y="2991193"/>
                </a:cubicBezTo>
                <a:cubicBezTo>
                  <a:pt x="4519206" y="2871686"/>
                  <a:pt x="4847564" y="2892768"/>
                  <a:pt x="5140172" y="3049042"/>
                </a:cubicBezTo>
                <a:cubicBezTo>
                  <a:pt x="5437860" y="3207919"/>
                  <a:pt x="5642140" y="3474682"/>
                  <a:pt x="5700687" y="3780752"/>
                </a:cubicBezTo>
                <a:lnTo>
                  <a:pt x="5700814" y="3781768"/>
                </a:lnTo>
                <a:close/>
                <a:moveTo>
                  <a:pt x="5426684" y="3824948"/>
                </a:moveTo>
                <a:cubicBezTo>
                  <a:pt x="5379187" y="3558820"/>
                  <a:pt x="5132489" y="3321838"/>
                  <a:pt x="4826482" y="3248686"/>
                </a:cubicBezTo>
                <a:cubicBezTo>
                  <a:pt x="4765205" y="3234017"/>
                  <a:pt x="4705515" y="3226842"/>
                  <a:pt x="4648365" y="3226842"/>
                </a:cubicBezTo>
                <a:cubicBezTo>
                  <a:pt x="4463008" y="3226842"/>
                  <a:pt x="4303496" y="3302661"/>
                  <a:pt x="4195991" y="3445980"/>
                </a:cubicBezTo>
                <a:cubicBezTo>
                  <a:pt x="4051084" y="3642259"/>
                  <a:pt x="4016476" y="3951377"/>
                  <a:pt x="4111980" y="4197566"/>
                </a:cubicBezTo>
                <a:cubicBezTo>
                  <a:pt x="4180624" y="4376255"/>
                  <a:pt x="4372267" y="4494048"/>
                  <a:pt x="4600296" y="4497858"/>
                </a:cubicBezTo>
                <a:cubicBezTo>
                  <a:pt x="4857597" y="4505415"/>
                  <a:pt x="5136743" y="4394544"/>
                  <a:pt x="5293207" y="4222966"/>
                </a:cubicBezTo>
                <a:cubicBezTo>
                  <a:pt x="5397601" y="4108349"/>
                  <a:pt x="5443766" y="3970808"/>
                  <a:pt x="5426684" y="3824948"/>
                </a:cubicBezTo>
                <a:close/>
                <a:moveTo>
                  <a:pt x="5997486" y="3368320"/>
                </a:moveTo>
                <a:cubicBezTo>
                  <a:pt x="6205893" y="3938613"/>
                  <a:pt x="6172809" y="4740619"/>
                  <a:pt x="5628932" y="5247158"/>
                </a:cubicBezTo>
                <a:cubicBezTo>
                  <a:pt x="5337149" y="5525161"/>
                  <a:pt x="4955641" y="5672481"/>
                  <a:pt x="4546892" y="5672481"/>
                </a:cubicBezTo>
                <a:cubicBezTo>
                  <a:pt x="4425671" y="5672481"/>
                  <a:pt x="4302036" y="5659527"/>
                  <a:pt x="4177703" y="5633175"/>
                </a:cubicBezTo>
                <a:cubicBezTo>
                  <a:pt x="3564293" y="5503317"/>
                  <a:pt x="3040481" y="5078439"/>
                  <a:pt x="2810611" y="4524465"/>
                </a:cubicBezTo>
                <a:cubicBezTo>
                  <a:pt x="2626017" y="4110254"/>
                  <a:pt x="2628684" y="3621875"/>
                  <a:pt x="2818231" y="3185186"/>
                </a:cubicBezTo>
                <a:cubicBezTo>
                  <a:pt x="3012605" y="2737320"/>
                  <a:pt x="3378428" y="2392960"/>
                  <a:pt x="3821912" y="2240369"/>
                </a:cubicBezTo>
                <a:cubicBezTo>
                  <a:pt x="4240060" y="2091271"/>
                  <a:pt x="4668685" y="2111337"/>
                  <a:pt x="5061305" y="2298472"/>
                </a:cubicBezTo>
                <a:cubicBezTo>
                  <a:pt x="5487771" y="2501799"/>
                  <a:pt x="5828957" y="2891752"/>
                  <a:pt x="5997486" y="3368320"/>
                </a:cubicBezTo>
                <a:close/>
                <a:moveTo>
                  <a:pt x="5912777" y="3399498"/>
                </a:moveTo>
                <a:lnTo>
                  <a:pt x="5912523" y="3398736"/>
                </a:lnTo>
                <a:cubicBezTo>
                  <a:pt x="5721642" y="2853716"/>
                  <a:pt x="5139918" y="2475700"/>
                  <a:pt x="4501108" y="2482050"/>
                </a:cubicBezTo>
                <a:cubicBezTo>
                  <a:pt x="4498886" y="2481987"/>
                  <a:pt x="4496536" y="2481987"/>
                  <a:pt x="4494314" y="2481987"/>
                </a:cubicBezTo>
                <a:cubicBezTo>
                  <a:pt x="4001427" y="2481987"/>
                  <a:pt x="3552482" y="2702205"/>
                  <a:pt x="3261207" y="3086951"/>
                </a:cubicBezTo>
                <a:cubicBezTo>
                  <a:pt x="2967456" y="3474936"/>
                  <a:pt x="2877096" y="3972396"/>
                  <a:pt x="3013240" y="4451821"/>
                </a:cubicBezTo>
                <a:cubicBezTo>
                  <a:pt x="3127349" y="4841393"/>
                  <a:pt x="3386175" y="5148161"/>
                  <a:pt x="3741966" y="5315294"/>
                </a:cubicBezTo>
                <a:cubicBezTo>
                  <a:pt x="4108742" y="5487505"/>
                  <a:pt x="4542320" y="5489665"/>
                  <a:pt x="4931575" y="5321072"/>
                </a:cubicBezTo>
                <a:cubicBezTo>
                  <a:pt x="5634965" y="5040720"/>
                  <a:pt x="6210401" y="4182834"/>
                  <a:pt x="5912777" y="3399498"/>
                </a:cubicBezTo>
                <a:close/>
                <a:moveTo>
                  <a:pt x="4262602" y="6675146"/>
                </a:moveTo>
                <a:cubicBezTo>
                  <a:pt x="3930307" y="6675146"/>
                  <a:pt x="3598138" y="6609233"/>
                  <a:pt x="3281464" y="6477216"/>
                </a:cubicBezTo>
                <a:cubicBezTo>
                  <a:pt x="1930755" y="5919814"/>
                  <a:pt x="1212634" y="4262971"/>
                  <a:pt x="1713458" y="2859304"/>
                </a:cubicBezTo>
                <a:cubicBezTo>
                  <a:pt x="2049437" y="1884960"/>
                  <a:pt x="2866491" y="1209574"/>
                  <a:pt x="3898938" y="1053046"/>
                </a:cubicBezTo>
                <a:cubicBezTo>
                  <a:pt x="4927384" y="897217"/>
                  <a:pt x="5903633" y="1298474"/>
                  <a:pt x="6510439" y="2126768"/>
                </a:cubicBezTo>
                <a:cubicBezTo>
                  <a:pt x="7051713" y="2866352"/>
                  <a:pt x="7171284" y="3928707"/>
                  <a:pt x="6815112" y="4833265"/>
                </a:cubicBezTo>
                <a:cubicBezTo>
                  <a:pt x="6534061" y="5569611"/>
                  <a:pt x="5972022" y="6164415"/>
                  <a:pt x="5273141" y="6465025"/>
                </a:cubicBezTo>
                <a:cubicBezTo>
                  <a:pt x="4947640" y="6605042"/>
                  <a:pt x="4604994" y="6675146"/>
                  <a:pt x="4262602" y="6675146"/>
                </a:cubicBezTo>
                <a:close/>
                <a:moveTo>
                  <a:pt x="6733705" y="4801388"/>
                </a:moveTo>
                <a:cubicBezTo>
                  <a:pt x="7037934" y="4033673"/>
                  <a:pt x="6887629" y="3094444"/>
                  <a:pt x="6350737" y="2408771"/>
                </a:cubicBezTo>
                <a:cubicBezTo>
                  <a:pt x="5842927" y="1744180"/>
                  <a:pt x="5085626" y="1368959"/>
                  <a:pt x="4279874" y="1368959"/>
                </a:cubicBezTo>
                <a:cubicBezTo>
                  <a:pt x="4175226" y="1368959"/>
                  <a:pt x="4069880" y="1375309"/>
                  <a:pt x="3964025" y="1388136"/>
                </a:cubicBezTo>
                <a:cubicBezTo>
                  <a:pt x="3052102" y="1498753"/>
                  <a:pt x="2283942" y="2077238"/>
                  <a:pt x="1909165" y="2935631"/>
                </a:cubicBezTo>
                <a:cubicBezTo>
                  <a:pt x="1487779" y="3879812"/>
                  <a:pt x="1748510" y="5045800"/>
                  <a:pt x="2529052" y="5708422"/>
                </a:cubicBezTo>
                <a:cubicBezTo>
                  <a:pt x="3171101" y="6280811"/>
                  <a:pt x="4118267" y="6501092"/>
                  <a:pt x="5001679" y="6283859"/>
                </a:cubicBezTo>
                <a:cubicBezTo>
                  <a:pt x="5822607" y="6081929"/>
                  <a:pt x="6453860" y="5541798"/>
                  <a:pt x="6733578" y="4801833"/>
                </a:cubicBezTo>
                <a:lnTo>
                  <a:pt x="6733705" y="4801388"/>
                </a:lnTo>
                <a:close/>
                <a:moveTo>
                  <a:pt x="294043" y="3817773"/>
                </a:moveTo>
                <a:cubicBezTo>
                  <a:pt x="387515" y="2858605"/>
                  <a:pt x="856208" y="1962176"/>
                  <a:pt x="1613700" y="1293521"/>
                </a:cubicBezTo>
                <a:cubicBezTo>
                  <a:pt x="2369604" y="626199"/>
                  <a:pt x="3314103" y="271996"/>
                  <a:pt x="4274286" y="297587"/>
                </a:cubicBezTo>
                <a:cubicBezTo>
                  <a:pt x="5248694" y="322987"/>
                  <a:pt x="6146457" y="741388"/>
                  <a:pt x="6802475" y="1475829"/>
                </a:cubicBezTo>
                <a:cubicBezTo>
                  <a:pt x="6813906" y="1489863"/>
                  <a:pt x="6830415" y="1498753"/>
                  <a:pt x="6848513" y="1500531"/>
                </a:cubicBezTo>
                <a:cubicBezTo>
                  <a:pt x="6867817" y="1502499"/>
                  <a:pt x="6887185" y="1495895"/>
                  <a:pt x="6901154" y="1482751"/>
                </a:cubicBezTo>
                <a:cubicBezTo>
                  <a:pt x="6914998" y="1469670"/>
                  <a:pt x="6922617" y="1451128"/>
                  <a:pt x="6922046" y="1431887"/>
                </a:cubicBezTo>
                <a:cubicBezTo>
                  <a:pt x="6921538" y="1414742"/>
                  <a:pt x="6914617" y="1398550"/>
                  <a:pt x="6902869" y="1386358"/>
                </a:cubicBezTo>
                <a:cubicBezTo>
                  <a:pt x="6128106" y="475069"/>
                  <a:pt x="4996154" y="-29057"/>
                  <a:pt x="3796639" y="1296"/>
                </a:cubicBezTo>
                <a:cubicBezTo>
                  <a:pt x="2617698" y="31776"/>
                  <a:pt x="1526387" y="592671"/>
                  <a:pt x="802551" y="1540091"/>
                </a:cubicBezTo>
                <a:cubicBezTo>
                  <a:pt x="-337528" y="3019387"/>
                  <a:pt x="-254089" y="5175784"/>
                  <a:pt x="996416" y="6555258"/>
                </a:cubicBezTo>
                <a:cubicBezTo>
                  <a:pt x="1006068" y="6566244"/>
                  <a:pt x="1015974" y="6576975"/>
                  <a:pt x="1025880" y="6587770"/>
                </a:cubicBezTo>
                <a:lnTo>
                  <a:pt x="1040930" y="6604216"/>
                </a:lnTo>
                <a:lnTo>
                  <a:pt x="1048677" y="6608725"/>
                </a:lnTo>
                <a:cubicBezTo>
                  <a:pt x="1062329" y="6616535"/>
                  <a:pt x="1077760" y="6620600"/>
                  <a:pt x="1093190" y="6620600"/>
                </a:cubicBezTo>
                <a:cubicBezTo>
                  <a:pt x="1101255" y="6620600"/>
                  <a:pt x="1109383" y="6619520"/>
                  <a:pt x="1117130" y="6617234"/>
                </a:cubicBezTo>
                <a:cubicBezTo>
                  <a:pt x="1138783" y="6611011"/>
                  <a:pt x="1157071" y="6596470"/>
                  <a:pt x="1167358" y="6577229"/>
                </a:cubicBezTo>
                <a:cubicBezTo>
                  <a:pt x="1183233" y="6547384"/>
                  <a:pt x="1178915" y="6510554"/>
                  <a:pt x="1155420" y="6482233"/>
                </a:cubicBezTo>
                <a:cubicBezTo>
                  <a:pt x="505053" y="5737822"/>
                  <a:pt x="199174" y="4791546"/>
                  <a:pt x="294043" y="3817773"/>
                </a:cubicBezTo>
                <a:close/>
                <a:moveTo>
                  <a:pt x="7870673" y="3766973"/>
                </a:moveTo>
                <a:lnTo>
                  <a:pt x="7868132" y="3753257"/>
                </a:lnTo>
                <a:cubicBezTo>
                  <a:pt x="7856639" y="3716173"/>
                  <a:pt x="7823238" y="3690836"/>
                  <a:pt x="7787234" y="3692487"/>
                </a:cubicBezTo>
                <a:cubicBezTo>
                  <a:pt x="7764310" y="3693313"/>
                  <a:pt x="7742656" y="3704679"/>
                  <a:pt x="7727798" y="3723666"/>
                </a:cubicBezTo>
                <a:cubicBezTo>
                  <a:pt x="7713002" y="3742525"/>
                  <a:pt x="7706652" y="3766655"/>
                  <a:pt x="7709891" y="3790595"/>
                </a:cubicBezTo>
                <a:cubicBezTo>
                  <a:pt x="7730084" y="4495508"/>
                  <a:pt x="7559205" y="5182134"/>
                  <a:pt x="7215162" y="5777129"/>
                </a:cubicBezTo>
                <a:cubicBezTo>
                  <a:pt x="6587591" y="6893586"/>
                  <a:pt x="5451068" y="7616851"/>
                  <a:pt x="4171670" y="7712228"/>
                </a:cubicBezTo>
                <a:cubicBezTo>
                  <a:pt x="4121823" y="7718832"/>
                  <a:pt x="4085374" y="7763980"/>
                  <a:pt x="4090454" y="7812939"/>
                </a:cubicBezTo>
                <a:cubicBezTo>
                  <a:pt x="4094645" y="7852880"/>
                  <a:pt x="4125823" y="7885964"/>
                  <a:pt x="4166336" y="7893457"/>
                </a:cubicBezTo>
                <a:lnTo>
                  <a:pt x="4172877" y="7894664"/>
                </a:lnTo>
                <a:lnTo>
                  <a:pt x="4179481" y="7894346"/>
                </a:lnTo>
                <a:cubicBezTo>
                  <a:pt x="4275366" y="7889838"/>
                  <a:pt x="4371060" y="7881836"/>
                  <a:pt x="4463643" y="7870406"/>
                </a:cubicBezTo>
                <a:cubicBezTo>
                  <a:pt x="5484279" y="7747661"/>
                  <a:pt x="6392710" y="7245567"/>
                  <a:pt x="7021614" y="6456515"/>
                </a:cubicBezTo>
                <a:cubicBezTo>
                  <a:pt x="7627594" y="5696294"/>
                  <a:pt x="7929092" y="4741127"/>
                  <a:pt x="7870673" y="3766973"/>
                </a:cubicBezTo>
                <a:close/>
                <a:moveTo>
                  <a:pt x="7857592" y="3279293"/>
                </a:moveTo>
                <a:cubicBezTo>
                  <a:pt x="7891056" y="3143149"/>
                  <a:pt x="7842161" y="2638514"/>
                  <a:pt x="7673378" y="2437219"/>
                </a:cubicBezTo>
                <a:cubicBezTo>
                  <a:pt x="7621372" y="2375180"/>
                  <a:pt x="7560602" y="2323999"/>
                  <a:pt x="7491578" y="2365401"/>
                </a:cubicBezTo>
                <a:cubicBezTo>
                  <a:pt x="7399884" y="2420455"/>
                  <a:pt x="7418806" y="2520341"/>
                  <a:pt x="7486180" y="2613432"/>
                </a:cubicBezTo>
                <a:cubicBezTo>
                  <a:pt x="7599718" y="2770340"/>
                  <a:pt x="7686332" y="3124861"/>
                  <a:pt x="7691920" y="3261005"/>
                </a:cubicBezTo>
                <a:cubicBezTo>
                  <a:pt x="7694333" y="3319806"/>
                  <a:pt x="7734782" y="3359493"/>
                  <a:pt x="7782535" y="3360319"/>
                </a:cubicBezTo>
                <a:cubicBezTo>
                  <a:pt x="7830286" y="3361208"/>
                  <a:pt x="7843494" y="3336633"/>
                  <a:pt x="7857592" y="3279293"/>
                </a:cubicBezTo>
                <a:close/>
              </a:path>
            </a:pathLst>
          </a:custGeom>
          <a:solidFill>
            <a:srgbClr val="47DA86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2968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9648C54-60DB-26A4-D087-869DAC88F7B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0994303E-A424-9540-91A8-53B791C91E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14374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0A4BC4EF-459A-7845-F619-515A9AFC49D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586066" y="4720753"/>
            <a:ext cx="8431683" cy="4852928"/>
          </a:xfrm>
        </p:spPr>
        <p:txBody>
          <a:bodyPr>
            <a:noAutofit/>
          </a:bodyPr>
          <a:lstStyle>
            <a:lvl1pPr marL="0" indent="0">
              <a:buNone/>
              <a:defRPr sz="2309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Duis autem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r>
              <a:rPr lang="en-GB"/>
              <a:t> in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esse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, </a:t>
            </a:r>
            <a:r>
              <a:rPr lang="en-GB" err="1"/>
              <a:t>vel</a:t>
            </a:r>
            <a:r>
              <a:rPr lang="en-GB"/>
              <a:t> illum dolore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feugiat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at </a:t>
            </a:r>
            <a:r>
              <a:rPr lang="en-GB" err="1"/>
              <a:t>vero</a:t>
            </a:r>
            <a:r>
              <a:rPr lang="en-GB"/>
              <a:t> eros et </a:t>
            </a:r>
            <a:r>
              <a:rPr lang="en-GB" err="1"/>
              <a:t>accumsan</a:t>
            </a:r>
            <a:r>
              <a:rPr lang="en-GB"/>
              <a:t> et </a:t>
            </a:r>
            <a:r>
              <a:rPr lang="en-GB" err="1"/>
              <a:t>iusto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qui </a:t>
            </a:r>
            <a:r>
              <a:rPr lang="en-GB" err="1"/>
              <a:t>blandit</a:t>
            </a:r>
            <a:r>
              <a:rPr lang="en-GB"/>
              <a:t> </a:t>
            </a:r>
            <a:r>
              <a:rPr lang="en-GB" err="1"/>
              <a:t>praesent</a:t>
            </a:r>
            <a:r>
              <a:rPr lang="en-GB"/>
              <a:t> </a:t>
            </a:r>
            <a:r>
              <a:rPr lang="en-GB" err="1"/>
              <a:t>luptatum</a:t>
            </a:r>
            <a:r>
              <a:rPr lang="en-GB"/>
              <a:t> </a:t>
            </a:r>
            <a:r>
              <a:rPr lang="en-GB" err="1"/>
              <a:t>zzril</a:t>
            </a:r>
            <a:r>
              <a:rPr lang="en-GB"/>
              <a:t> </a:t>
            </a:r>
            <a:r>
              <a:rPr lang="en-GB" err="1"/>
              <a:t>deleni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duis</a:t>
            </a:r>
            <a:r>
              <a:rPr lang="en-GB"/>
              <a:t> </a:t>
            </a:r>
            <a:r>
              <a:rPr lang="en-GB" err="1"/>
              <a:t>dolorete</a:t>
            </a:r>
            <a:r>
              <a:rPr lang="en-GB"/>
              <a:t> </a:t>
            </a:r>
            <a:r>
              <a:rPr lang="en-GB" err="1"/>
              <a:t>feugait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facilisi</a:t>
            </a:r>
            <a:r>
              <a:rPr lang="en-GB"/>
              <a:t>.</a:t>
            </a:r>
          </a:p>
        </p:txBody>
      </p:sp>
      <p:sp>
        <p:nvSpPr>
          <p:cNvPr id="32" name="Text Placeholder 11">
            <a:extLst>
              <a:ext uri="{FF2B5EF4-FFF2-40B4-BE49-F238E27FC236}">
                <a16:creationId xmlns:a16="http://schemas.microsoft.com/office/drawing/2014/main" id="{1B2E71AF-560B-8492-C46B-152A4A3B96D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586948" y="905796"/>
            <a:ext cx="8427354" cy="3497510"/>
          </a:xfrm>
        </p:spPr>
        <p:txBody>
          <a:bodyPr anchor="b" anchorCtr="0">
            <a:noAutofit/>
          </a:bodyPr>
          <a:lstStyle>
            <a:lvl1pPr marL="0" indent="0">
              <a:buNone/>
              <a:defRPr sz="6596" b="1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GB"/>
              <a:t>A captivating headlin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0B036C2-4F5F-9FD4-809E-3237384E8560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0994303E-A424-9540-91A8-53B791C91E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Graphic 8">
            <a:extLst>
              <a:ext uri="{FF2B5EF4-FFF2-40B4-BE49-F238E27FC236}">
                <a16:creationId xmlns:a16="http://schemas.microsoft.com/office/drawing/2014/main" id="{2B051417-E233-CE79-D9EA-45CDB44E25B2}"/>
              </a:ext>
            </a:extLst>
          </p:cNvPr>
          <p:cNvSpPr>
            <a:spLocks noChangeAspect="1"/>
          </p:cNvSpPr>
          <p:nvPr userDrawn="1"/>
        </p:nvSpPr>
        <p:spPr>
          <a:xfrm flipH="1">
            <a:off x="3959225" y="0"/>
            <a:ext cx="4797892" cy="11309350"/>
          </a:xfrm>
          <a:custGeom>
            <a:avLst/>
            <a:gdLst>
              <a:gd name="connsiteX0" fmla="*/ 2509447 w 2909650"/>
              <a:gd name="connsiteY0" fmla="*/ 180594 h 6858000"/>
              <a:gd name="connsiteX1" fmla="*/ 2909651 w 2909650"/>
              <a:gd name="connsiteY1" fmla="*/ 0 h 6858000"/>
              <a:gd name="connsiteX2" fmla="*/ 2223334 w 2909650"/>
              <a:gd name="connsiteY2" fmla="*/ 0 h 6858000"/>
              <a:gd name="connsiteX3" fmla="*/ 1937474 w 2909650"/>
              <a:gd name="connsiteY3" fmla="*/ 154750 h 6858000"/>
              <a:gd name="connsiteX4" fmla="*/ 41345 w 2909650"/>
              <a:gd name="connsiteY4" fmla="*/ 3013901 h 6858000"/>
              <a:gd name="connsiteX5" fmla="*/ 1692288 w 2909650"/>
              <a:gd name="connsiteY5" fmla="*/ 6858000 h 6858000"/>
              <a:gd name="connsiteX6" fmla="*/ 2048645 w 2909650"/>
              <a:gd name="connsiteY6" fmla="*/ 6858000 h 6858000"/>
              <a:gd name="connsiteX7" fmla="*/ 722205 w 2909650"/>
              <a:gd name="connsiteY7" fmla="*/ 5293106 h 6858000"/>
              <a:gd name="connsiteX8" fmla="*/ 639779 w 2909650"/>
              <a:gd name="connsiteY8" fmla="*/ 2390775 h 6858000"/>
              <a:gd name="connsiteX9" fmla="*/ 2509447 w 2909650"/>
              <a:gd name="connsiteY9" fmla="*/ 180594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909650" h="6858000">
                <a:moveTo>
                  <a:pt x="2509447" y="180594"/>
                </a:moveTo>
                <a:cubicBezTo>
                  <a:pt x="2640226" y="111760"/>
                  <a:pt x="2773796" y="51562"/>
                  <a:pt x="2909651" y="0"/>
                </a:cubicBezTo>
                <a:lnTo>
                  <a:pt x="2223334" y="0"/>
                </a:lnTo>
                <a:cubicBezTo>
                  <a:pt x="2126567" y="47498"/>
                  <a:pt x="2031195" y="99124"/>
                  <a:pt x="1937474" y="154750"/>
                </a:cubicBezTo>
                <a:cubicBezTo>
                  <a:pt x="904635" y="768668"/>
                  <a:pt x="213495" y="1810830"/>
                  <a:pt x="41345" y="3013901"/>
                </a:cubicBezTo>
                <a:cubicBezTo>
                  <a:pt x="-179475" y="4511612"/>
                  <a:pt x="500497" y="6005132"/>
                  <a:pt x="1692288" y="6858000"/>
                </a:cubicBezTo>
                <a:lnTo>
                  <a:pt x="2048645" y="6858000"/>
                </a:lnTo>
                <a:cubicBezTo>
                  <a:pt x="1465694" y="6480620"/>
                  <a:pt x="1007050" y="5943664"/>
                  <a:pt x="722205" y="5293106"/>
                </a:cubicBezTo>
                <a:cubicBezTo>
                  <a:pt x="328220" y="4393375"/>
                  <a:pt x="298968" y="3362643"/>
                  <a:pt x="639779" y="2390775"/>
                </a:cubicBezTo>
                <a:cubicBezTo>
                  <a:pt x="979764" y="1420940"/>
                  <a:pt x="1643175" y="635699"/>
                  <a:pt x="2509447" y="180594"/>
                </a:cubicBezTo>
                <a:close/>
              </a:path>
            </a:pathLst>
          </a:custGeom>
          <a:solidFill>
            <a:srgbClr val="47D985"/>
          </a:solidFill>
          <a:ln w="632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2968"/>
          </a:p>
        </p:txBody>
      </p:sp>
      <p:sp>
        <p:nvSpPr>
          <p:cNvPr id="2" name="Picture Placeholder 3">
            <a:extLst>
              <a:ext uri="{FF2B5EF4-FFF2-40B4-BE49-F238E27FC236}">
                <a16:creationId xmlns:a16="http://schemas.microsoft.com/office/drawing/2014/main" id="{CDC14F0B-4FA1-90DE-9073-AAC23D66504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0" y="-1"/>
            <a:ext cx="9367930" cy="11313771"/>
          </a:xfrm>
          <a:custGeom>
            <a:avLst/>
            <a:gdLst>
              <a:gd name="connsiteX0" fmla="*/ 2401045 w 5681120"/>
              <a:gd name="connsiteY0" fmla="*/ 1 h 6860681"/>
              <a:gd name="connsiteX1" fmla="*/ 2801249 w 5681120"/>
              <a:gd name="connsiteY1" fmla="*/ 180595 h 6860681"/>
              <a:gd name="connsiteX2" fmla="*/ 4670917 w 5681120"/>
              <a:gd name="connsiteY2" fmla="*/ 2390776 h 6860681"/>
              <a:gd name="connsiteX3" fmla="*/ 4588491 w 5681120"/>
              <a:gd name="connsiteY3" fmla="*/ 5293107 h 6860681"/>
              <a:gd name="connsiteX4" fmla="*/ 3262051 w 5681120"/>
              <a:gd name="connsiteY4" fmla="*/ 6858001 h 6860681"/>
              <a:gd name="connsiteX5" fmla="*/ 3618408 w 5681120"/>
              <a:gd name="connsiteY5" fmla="*/ 6858001 h 6860681"/>
              <a:gd name="connsiteX6" fmla="*/ 5269351 w 5681120"/>
              <a:gd name="connsiteY6" fmla="*/ 3013902 h 6860681"/>
              <a:gd name="connsiteX7" fmla="*/ 3373222 w 5681120"/>
              <a:gd name="connsiteY7" fmla="*/ 154751 h 6860681"/>
              <a:gd name="connsiteX8" fmla="*/ 3087362 w 5681120"/>
              <a:gd name="connsiteY8" fmla="*/ 1 h 6860681"/>
              <a:gd name="connsiteX9" fmla="*/ 0 w 5681120"/>
              <a:gd name="connsiteY9" fmla="*/ 0 h 6860681"/>
              <a:gd name="connsiteX10" fmla="*/ 3888685 w 5681120"/>
              <a:gd name="connsiteY10" fmla="*/ 0 h 6860681"/>
              <a:gd name="connsiteX11" fmla="*/ 5437733 w 5681120"/>
              <a:gd name="connsiteY11" fmla="*/ 5161393 h 6860681"/>
              <a:gd name="connsiteX12" fmla="*/ 4096079 w 5681120"/>
              <a:gd name="connsiteY12" fmla="*/ 6860681 h 6860681"/>
              <a:gd name="connsiteX13" fmla="*/ 0 w 5681120"/>
              <a:gd name="connsiteY13" fmla="*/ 6860681 h 6860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5681120" h="6860681">
                <a:moveTo>
                  <a:pt x="2401045" y="1"/>
                </a:moveTo>
                <a:cubicBezTo>
                  <a:pt x="2536900" y="51563"/>
                  <a:pt x="2670470" y="111761"/>
                  <a:pt x="2801249" y="180595"/>
                </a:cubicBezTo>
                <a:cubicBezTo>
                  <a:pt x="3667521" y="635700"/>
                  <a:pt x="4330932" y="1420941"/>
                  <a:pt x="4670917" y="2390776"/>
                </a:cubicBezTo>
                <a:cubicBezTo>
                  <a:pt x="5011728" y="3362644"/>
                  <a:pt x="4982476" y="4393376"/>
                  <a:pt x="4588491" y="5293107"/>
                </a:cubicBezTo>
                <a:cubicBezTo>
                  <a:pt x="4303646" y="5943665"/>
                  <a:pt x="3845002" y="6480621"/>
                  <a:pt x="3262051" y="6858001"/>
                </a:cubicBezTo>
                <a:lnTo>
                  <a:pt x="3618408" y="6858001"/>
                </a:lnTo>
                <a:cubicBezTo>
                  <a:pt x="4810199" y="6005133"/>
                  <a:pt x="5490171" y="4511613"/>
                  <a:pt x="5269351" y="3013902"/>
                </a:cubicBezTo>
                <a:cubicBezTo>
                  <a:pt x="5097201" y="1810831"/>
                  <a:pt x="4406061" y="768669"/>
                  <a:pt x="3373222" y="154751"/>
                </a:cubicBezTo>
                <a:cubicBezTo>
                  <a:pt x="3279501" y="99125"/>
                  <a:pt x="3184129" y="47499"/>
                  <a:pt x="3087362" y="1"/>
                </a:cubicBezTo>
                <a:close/>
                <a:moveTo>
                  <a:pt x="0" y="0"/>
                </a:moveTo>
                <a:lnTo>
                  <a:pt x="3888685" y="0"/>
                </a:lnTo>
                <a:cubicBezTo>
                  <a:pt x="5541875" y="1030183"/>
                  <a:pt x="6033690" y="3349918"/>
                  <a:pt x="5437733" y="5161393"/>
                </a:cubicBezTo>
                <a:cubicBezTo>
                  <a:pt x="5188744" y="5932457"/>
                  <a:pt x="4704167" y="6494906"/>
                  <a:pt x="4096079" y="6860681"/>
                </a:cubicBezTo>
                <a:cubicBezTo>
                  <a:pt x="4096079" y="6860681"/>
                  <a:pt x="0" y="6860681"/>
                  <a:pt x="0" y="6860681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marR="0" indent="0" algn="ctr" defTabSz="1507846" rtl="0" eaLnBrk="1" fontAlgn="auto" latinLnBrk="0" hangingPunct="1">
              <a:lnSpc>
                <a:spcPct val="100000"/>
              </a:lnSpc>
              <a:spcBef>
                <a:spcPts val="1649"/>
              </a:spcBef>
              <a:spcAft>
                <a:spcPts val="1649"/>
              </a:spcAft>
              <a:buClr>
                <a:srgbClr val="47DA86"/>
              </a:buClr>
              <a:buSzTx/>
              <a:buFont typeface="Arial" panose="020B0604020202020204" pitchFamily="34" charset="0"/>
              <a:buNone/>
              <a:tabLst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086213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ext Placeholder 11">
            <a:extLst>
              <a:ext uri="{FF2B5EF4-FFF2-40B4-BE49-F238E27FC236}">
                <a16:creationId xmlns:a16="http://schemas.microsoft.com/office/drawing/2014/main" id="{260C0866-42F7-35D3-996A-A5C4501810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6354" y="905796"/>
            <a:ext cx="8431680" cy="3531019"/>
          </a:xfrm>
        </p:spPr>
        <p:txBody>
          <a:bodyPr anchor="b" anchorCtr="0">
            <a:noAutofit/>
          </a:bodyPr>
          <a:lstStyle>
            <a:lvl1pPr marL="0" indent="0">
              <a:buNone/>
              <a:defRPr sz="6596" b="1">
                <a:latin typeface="+mj-lt"/>
              </a:defRPr>
            </a:lvl1pPr>
          </a:lstStyle>
          <a:p>
            <a:pPr lvl="0"/>
            <a:r>
              <a:rPr lang="en-GB"/>
              <a:t>A captivating headline</a:t>
            </a:r>
          </a:p>
        </p:txBody>
      </p:sp>
      <p:sp>
        <p:nvSpPr>
          <p:cNvPr id="77" name="Text Placeholder 11">
            <a:extLst>
              <a:ext uri="{FF2B5EF4-FFF2-40B4-BE49-F238E27FC236}">
                <a16:creationId xmlns:a16="http://schemas.microsoft.com/office/drawing/2014/main" id="{E5F2EDD0-06C6-9BD2-0A3E-968675239EC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86354" y="4754262"/>
            <a:ext cx="8431680" cy="4819419"/>
          </a:xfrm>
        </p:spPr>
        <p:txBody>
          <a:bodyPr>
            <a:noAutofit/>
          </a:bodyPr>
          <a:lstStyle>
            <a:lvl1pPr marL="0" indent="0">
              <a:buNone/>
              <a:defRPr sz="2309" b="0"/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Duis autem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r>
              <a:rPr lang="en-GB"/>
              <a:t> in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esse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, </a:t>
            </a:r>
            <a:r>
              <a:rPr lang="en-GB" err="1"/>
              <a:t>vel</a:t>
            </a:r>
            <a:r>
              <a:rPr lang="en-GB"/>
              <a:t> illum dolore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feugiat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at </a:t>
            </a:r>
            <a:r>
              <a:rPr lang="en-GB" err="1"/>
              <a:t>vero</a:t>
            </a:r>
            <a:r>
              <a:rPr lang="en-GB"/>
              <a:t> eros et </a:t>
            </a:r>
            <a:r>
              <a:rPr lang="en-GB" err="1"/>
              <a:t>accumsan</a:t>
            </a:r>
            <a:r>
              <a:rPr lang="en-GB"/>
              <a:t> et </a:t>
            </a:r>
            <a:r>
              <a:rPr lang="en-GB" err="1"/>
              <a:t>iusto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qui </a:t>
            </a:r>
            <a:r>
              <a:rPr lang="en-GB" err="1"/>
              <a:t>blandit</a:t>
            </a:r>
            <a:r>
              <a:rPr lang="en-GB"/>
              <a:t> </a:t>
            </a:r>
            <a:r>
              <a:rPr lang="en-GB" err="1"/>
              <a:t>praesent</a:t>
            </a:r>
            <a:r>
              <a:rPr lang="en-GB"/>
              <a:t> </a:t>
            </a:r>
            <a:r>
              <a:rPr lang="en-GB" err="1"/>
              <a:t>luptatum</a:t>
            </a:r>
            <a:r>
              <a:rPr lang="en-GB"/>
              <a:t> </a:t>
            </a:r>
            <a:r>
              <a:rPr lang="en-GB" err="1"/>
              <a:t>zzril</a:t>
            </a:r>
            <a:r>
              <a:rPr lang="en-GB"/>
              <a:t> </a:t>
            </a:r>
            <a:r>
              <a:rPr lang="en-GB" err="1"/>
              <a:t>deleni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duis</a:t>
            </a:r>
            <a:r>
              <a:rPr lang="en-GB"/>
              <a:t> </a:t>
            </a:r>
            <a:r>
              <a:rPr lang="en-GB" err="1"/>
              <a:t>dolorete</a:t>
            </a:r>
            <a:r>
              <a:rPr lang="en-GB"/>
              <a:t> </a:t>
            </a:r>
            <a:r>
              <a:rPr lang="en-GB" err="1"/>
              <a:t>feugait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facilisi</a:t>
            </a:r>
            <a:r>
              <a:rPr lang="en-GB"/>
              <a:t>.</a:t>
            </a:r>
          </a:p>
        </p:txBody>
      </p:sp>
      <p:sp>
        <p:nvSpPr>
          <p:cNvPr id="10" name="Graphic 8">
            <a:extLst>
              <a:ext uri="{FF2B5EF4-FFF2-40B4-BE49-F238E27FC236}">
                <a16:creationId xmlns:a16="http://schemas.microsoft.com/office/drawing/2014/main" id="{E17556F4-8ED1-9969-CD3F-1525217E1E0A}"/>
              </a:ext>
            </a:extLst>
          </p:cNvPr>
          <p:cNvSpPr>
            <a:spLocks noChangeAspect="1"/>
          </p:cNvSpPr>
          <p:nvPr/>
        </p:nvSpPr>
        <p:spPr>
          <a:xfrm>
            <a:off x="10273003" y="0"/>
            <a:ext cx="3177452" cy="10651432"/>
          </a:xfrm>
          <a:custGeom>
            <a:avLst/>
            <a:gdLst>
              <a:gd name="connsiteX0" fmla="*/ 1215570 w 1926945"/>
              <a:gd name="connsiteY0" fmla="*/ 0 h 6459038"/>
              <a:gd name="connsiteX1" fmla="*/ 396914 w 1926945"/>
              <a:gd name="connsiteY1" fmla="*/ 5502156 h 6459038"/>
              <a:gd name="connsiteX2" fmla="*/ 420148 w 1926945"/>
              <a:gd name="connsiteY2" fmla="*/ 5558753 h 6459038"/>
              <a:gd name="connsiteX3" fmla="*/ 432155 w 1926945"/>
              <a:gd name="connsiteY3" fmla="*/ 5587377 h 6459038"/>
              <a:gd name="connsiteX4" fmla="*/ 440203 w 1926945"/>
              <a:gd name="connsiteY4" fmla="*/ 5596875 h 6459038"/>
              <a:gd name="connsiteX5" fmla="*/ 492837 w 1926945"/>
              <a:gd name="connsiteY5" fmla="*/ 5633436 h 6459038"/>
              <a:gd name="connsiteX6" fmla="*/ 525742 w 1926945"/>
              <a:gd name="connsiteY6" fmla="*/ 5640331 h 6459038"/>
              <a:gd name="connsiteX7" fmla="*/ 610242 w 1926945"/>
              <a:gd name="connsiteY7" fmla="*/ 5611577 h 6459038"/>
              <a:gd name="connsiteX8" fmla="*/ 639318 w 1926945"/>
              <a:gd name="connsiteY8" fmla="*/ 5481404 h 6459038"/>
              <a:gd name="connsiteX9" fmla="*/ 767042 w 1926945"/>
              <a:gd name="connsiteY9" fmla="*/ 1582249 h 6459038"/>
              <a:gd name="connsiteX10" fmla="*/ 1926945 w 1926945"/>
              <a:gd name="connsiteY10" fmla="*/ 0 h 6459038"/>
              <a:gd name="connsiteX11" fmla="*/ 1215570 w 1926945"/>
              <a:gd name="connsiteY11" fmla="*/ 0 h 6459038"/>
              <a:gd name="connsiteX12" fmla="*/ 1095504 w 1926945"/>
              <a:gd name="connsiteY12" fmla="*/ 6179501 h 6459038"/>
              <a:gd name="connsiteX13" fmla="*/ 732969 w 1926945"/>
              <a:gd name="connsiteY13" fmla="*/ 5966123 h 6459038"/>
              <a:gd name="connsiteX14" fmla="*/ 789433 w 1926945"/>
              <a:gd name="connsiteY14" fmla="*/ 6327759 h 6459038"/>
              <a:gd name="connsiteX15" fmla="*/ 1082524 w 1926945"/>
              <a:gd name="connsiteY15" fmla="*/ 6428073 h 6459038"/>
              <a:gd name="connsiteX16" fmla="*/ 1095504 w 1926945"/>
              <a:gd name="connsiteY16" fmla="*/ 6179501 h 6459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926945" h="6459038">
                <a:moveTo>
                  <a:pt x="1215570" y="0"/>
                </a:moveTo>
                <a:cubicBezTo>
                  <a:pt x="2189" y="1519862"/>
                  <a:pt x="-364305" y="3650388"/>
                  <a:pt x="396914" y="5502156"/>
                </a:cubicBezTo>
                <a:cubicBezTo>
                  <a:pt x="404443" y="5521087"/>
                  <a:pt x="412295" y="5539888"/>
                  <a:pt x="420148" y="5558753"/>
                </a:cubicBezTo>
                <a:lnTo>
                  <a:pt x="432155" y="5587377"/>
                </a:lnTo>
                <a:lnTo>
                  <a:pt x="440203" y="5596875"/>
                </a:lnTo>
                <a:cubicBezTo>
                  <a:pt x="454351" y="5613594"/>
                  <a:pt x="472653" y="5626150"/>
                  <a:pt x="492837" y="5633436"/>
                </a:cubicBezTo>
                <a:cubicBezTo>
                  <a:pt x="503351" y="5637274"/>
                  <a:pt x="514449" y="5639615"/>
                  <a:pt x="525742" y="5640331"/>
                </a:cubicBezTo>
                <a:cubicBezTo>
                  <a:pt x="556959" y="5642413"/>
                  <a:pt x="587722" y="5631939"/>
                  <a:pt x="610242" y="5611577"/>
                </a:cubicBezTo>
                <a:cubicBezTo>
                  <a:pt x="645029" y="5579961"/>
                  <a:pt x="656711" y="5529674"/>
                  <a:pt x="639318" y="5481404"/>
                </a:cubicBezTo>
                <a:cubicBezTo>
                  <a:pt x="139194" y="4198730"/>
                  <a:pt x="184559" y="2814051"/>
                  <a:pt x="767042" y="1582249"/>
                </a:cubicBezTo>
                <a:cubicBezTo>
                  <a:pt x="1049489" y="985051"/>
                  <a:pt x="1443695" y="450566"/>
                  <a:pt x="1926945" y="0"/>
                </a:cubicBezTo>
                <a:lnTo>
                  <a:pt x="1215570" y="0"/>
                </a:lnTo>
                <a:close/>
                <a:moveTo>
                  <a:pt x="1095504" y="6179501"/>
                </a:moveTo>
                <a:cubicBezTo>
                  <a:pt x="1037093" y="6109372"/>
                  <a:pt x="782878" y="5942443"/>
                  <a:pt x="732969" y="5966123"/>
                </a:cubicBezTo>
                <a:cubicBezTo>
                  <a:pt x="682996" y="5989737"/>
                  <a:pt x="723688" y="6212483"/>
                  <a:pt x="789433" y="6327759"/>
                </a:cubicBezTo>
                <a:cubicBezTo>
                  <a:pt x="834733" y="6407125"/>
                  <a:pt x="984199" y="6512058"/>
                  <a:pt x="1082524" y="6428073"/>
                </a:cubicBezTo>
                <a:cubicBezTo>
                  <a:pt x="1180848" y="6344153"/>
                  <a:pt x="1153914" y="6249694"/>
                  <a:pt x="1095504" y="6179501"/>
                </a:cubicBezTo>
                <a:close/>
              </a:path>
            </a:pathLst>
          </a:custGeom>
          <a:solidFill>
            <a:srgbClr val="47D985"/>
          </a:solidFill>
          <a:ln w="6478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2968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C9BF31C-960F-6DEC-C64D-220E460F17D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0994303E-A424-9540-91A8-53B791C91E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Picture Placeholder 6">
            <a:extLst>
              <a:ext uri="{FF2B5EF4-FFF2-40B4-BE49-F238E27FC236}">
                <a16:creationId xmlns:a16="http://schemas.microsoft.com/office/drawing/2014/main" id="{173EB7C3-0588-B099-ABAE-5F2DE47F63C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1333663" y="0"/>
            <a:ext cx="8770438" cy="11313773"/>
          </a:xfrm>
          <a:custGeom>
            <a:avLst/>
            <a:gdLst>
              <a:gd name="connsiteX0" fmla="*/ 1792436 w 5318775"/>
              <a:gd name="connsiteY0" fmla="*/ 0 h 6860682"/>
              <a:gd name="connsiteX1" fmla="*/ 5318775 w 5318775"/>
              <a:gd name="connsiteY1" fmla="*/ 0 h 6860682"/>
              <a:gd name="connsiteX2" fmla="*/ 5318775 w 5318775"/>
              <a:gd name="connsiteY2" fmla="*/ 6860682 h 6860682"/>
              <a:gd name="connsiteX3" fmla="*/ 1585041 w 5318775"/>
              <a:gd name="connsiteY3" fmla="*/ 6860682 h 6860682"/>
              <a:gd name="connsiteX4" fmla="*/ 243389 w 5318775"/>
              <a:gd name="connsiteY4" fmla="*/ 5161393 h 6860682"/>
              <a:gd name="connsiteX5" fmla="*/ 1792436 w 5318775"/>
              <a:gd name="connsiteY5" fmla="*/ 0 h 68606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318775" h="6860682">
                <a:moveTo>
                  <a:pt x="1792436" y="0"/>
                </a:moveTo>
                <a:lnTo>
                  <a:pt x="5318775" y="0"/>
                </a:lnTo>
                <a:lnTo>
                  <a:pt x="5318775" y="6860682"/>
                </a:lnTo>
                <a:lnTo>
                  <a:pt x="1585041" y="6860682"/>
                </a:lnTo>
                <a:cubicBezTo>
                  <a:pt x="976954" y="6494907"/>
                  <a:pt x="492377" y="5932458"/>
                  <a:pt x="243389" y="5161393"/>
                </a:cubicBezTo>
                <a:cubicBezTo>
                  <a:pt x="-352570" y="3349919"/>
                  <a:pt x="139246" y="1030182"/>
                  <a:pt x="1792436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72503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asic, Larg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BCDC415B-B0B1-B0CE-EF86-346D3A4E6A4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6356" y="905796"/>
            <a:ext cx="9499710" cy="3608924"/>
          </a:xfrm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719" b="1">
                <a:latin typeface="+mj-lt"/>
              </a:defRPr>
            </a:lvl1pPr>
          </a:lstStyle>
          <a:p>
            <a:pPr lvl="0"/>
            <a:r>
              <a:rPr lang="en-GB"/>
              <a:t>A captivating headline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F3918CB-A61A-8A43-05DE-7D51ECBE796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0994303E-A424-9540-91A8-53B791C91E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9C4ACA5-144B-43D4-2B92-D3B3ED76322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086352" y="5022572"/>
            <a:ext cx="8431681" cy="4551108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perspiciatis</a:t>
            </a:r>
            <a:r>
              <a:rPr lang="en-GB"/>
              <a:t> </a:t>
            </a:r>
            <a:r>
              <a:rPr lang="en-GB" err="1"/>
              <a:t>unde</a:t>
            </a:r>
            <a:r>
              <a:rPr lang="en-GB"/>
              <a:t> </a:t>
            </a:r>
            <a:r>
              <a:rPr lang="en-GB" err="1"/>
              <a:t>omnis</a:t>
            </a:r>
            <a:r>
              <a:rPr lang="en-GB"/>
              <a:t> </a:t>
            </a:r>
            <a:r>
              <a:rPr lang="en-GB" err="1"/>
              <a:t>iste</a:t>
            </a:r>
            <a:r>
              <a:rPr lang="en-GB"/>
              <a:t> </a:t>
            </a:r>
            <a:r>
              <a:rPr lang="en-GB" err="1"/>
              <a:t>natus</a:t>
            </a:r>
            <a:r>
              <a:rPr lang="en-GB"/>
              <a:t> error sit </a:t>
            </a:r>
            <a:r>
              <a:rPr lang="en-GB" err="1"/>
              <a:t>voluptatem</a:t>
            </a:r>
            <a:r>
              <a:rPr lang="en-GB"/>
              <a:t> </a:t>
            </a:r>
            <a:r>
              <a:rPr lang="en-GB" err="1"/>
              <a:t>accusantium</a:t>
            </a:r>
            <a:r>
              <a:rPr lang="en-GB"/>
              <a:t> </a:t>
            </a:r>
            <a:r>
              <a:rPr lang="en-GB" err="1"/>
              <a:t>doloremque</a:t>
            </a:r>
            <a:r>
              <a:rPr lang="en-GB"/>
              <a:t> </a:t>
            </a:r>
            <a:r>
              <a:rPr lang="en-GB" err="1"/>
              <a:t>laudantium</a:t>
            </a:r>
            <a:r>
              <a:rPr lang="en-GB"/>
              <a:t>, </a:t>
            </a:r>
            <a:r>
              <a:rPr lang="en-GB" err="1"/>
              <a:t>totam</a:t>
            </a:r>
            <a:r>
              <a:rPr lang="en-GB"/>
              <a:t> rem </a:t>
            </a:r>
            <a:r>
              <a:rPr lang="en-GB" err="1"/>
              <a:t>aperiam</a:t>
            </a:r>
            <a:r>
              <a:rPr lang="en-GB"/>
              <a:t>, </a:t>
            </a:r>
            <a:r>
              <a:rPr lang="en-GB" err="1"/>
              <a:t>eaque</a:t>
            </a:r>
            <a:r>
              <a:rPr lang="en-GB"/>
              <a:t> </a:t>
            </a:r>
            <a:r>
              <a:rPr lang="en-GB" err="1"/>
              <a:t>ipsa</a:t>
            </a:r>
            <a:r>
              <a:rPr lang="en-GB"/>
              <a:t> </a:t>
            </a:r>
            <a:r>
              <a:rPr lang="en-GB" err="1"/>
              <a:t>quae</a:t>
            </a:r>
            <a:r>
              <a:rPr lang="en-GB"/>
              <a:t> ab </a:t>
            </a:r>
            <a:r>
              <a:rPr lang="en-GB" err="1"/>
              <a:t>illo</a:t>
            </a:r>
            <a:r>
              <a:rPr lang="en-GB"/>
              <a:t> </a:t>
            </a:r>
            <a:r>
              <a:rPr lang="en-GB" err="1"/>
              <a:t>inventore</a:t>
            </a:r>
            <a:r>
              <a:rPr lang="en-GB"/>
              <a:t> </a:t>
            </a:r>
            <a:r>
              <a:rPr lang="en-GB" err="1"/>
              <a:t>veritatis</a:t>
            </a:r>
            <a:r>
              <a:rPr lang="en-GB"/>
              <a:t> et quasi </a:t>
            </a:r>
            <a:r>
              <a:rPr lang="en-GB" err="1"/>
              <a:t>architecto</a:t>
            </a:r>
            <a:r>
              <a:rPr lang="en-GB"/>
              <a:t> beatae vitae dicta sunt </a:t>
            </a:r>
            <a:r>
              <a:rPr lang="en-GB" err="1"/>
              <a:t>explicabo</a:t>
            </a:r>
            <a:r>
              <a:rPr lang="en-GB"/>
              <a:t>. Nemo </a:t>
            </a:r>
            <a:r>
              <a:rPr lang="en-GB" err="1"/>
              <a:t>enim</a:t>
            </a:r>
            <a:r>
              <a:rPr lang="en-GB"/>
              <a:t> </a:t>
            </a:r>
            <a:r>
              <a:rPr lang="en-GB" err="1"/>
              <a:t>ipsam</a:t>
            </a:r>
            <a:r>
              <a:rPr lang="en-GB"/>
              <a:t> </a:t>
            </a:r>
            <a:r>
              <a:rPr lang="en-GB" err="1"/>
              <a:t>voluptatem</a:t>
            </a:r>
            <a:r>
              <a:rPr lang="en-GB"/>
              <a:t> </a:t>
            </a:r>
            <a:r>
              <a:rPr lang="en-GB" err="1"/>
              <a:t>quia</a:t>
            </a:r>
            <a:r>
              <a:rPr lang="en-GB"/>
              <a:t> </a:t>
            </a:r>
            <a:r>
              <a:rPr lang="en-GB" err="1"/>
              <a:t>voluptas</a:t>
            </a:r>
            <a:r>
              <a:rPr lang="en-GB"/>
              <a:t> sit </a:t>
            </a:r>
            <a:r>
              <a:rPr lang="en-GB" err="1"/>
              <a:t>aspernatur</a:t>
            </a:r>
            <a:r>
              <a:rPr lang="en-GB"/>
              <a:t> </a:t>
            </a:r>
            <a:r>
              <a:rPr lang="en-GB" err="1"/>
              <a:t>aut</a:t>
            </a:r>
            <a:r>
              <a:rPr lang="en-GB"/>
              <a:t> </a:t>
            </a:r>
            <a:r>
              <a:rPr lang="en-GB" err="1"/>
              <a:t>odit</a:t>
            </a:r>
            <a:r>
              <a:rPr lang="en-GB"/>
              <a:t> </a:t>
            </a:r>
            <a:r>
              <a:rPr lang="en-GB" err="1"/>
              <a:t>aut</a:t>
            </a:r>
            <a:r>
              <a:rPr lang="en-GB"/>
              <a:t> fugit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quia</a:t>
            </a:r>
            <a:r>
              <a:rPr lang="en-GB"/>
              <a:t> </a:t>
            </a:r>
            <a:r>
              <a:rPr lang="en-GB" err="1"/>
              <a:t>consequuntur</a:t>
            </a:r>
            <a:r>
              <a:rPr lang="en-GB"/>
              <a:t> </a:t>
            </a:r>
            <a:r>
              <a:rPr lang="en-GB" err="1"/>
              <a:t>magni</a:t>
            </a:r>
            <a:r>
              <a:rPr lang="en-GB"/>
              <a:t> </a:t>
            </a:r>
            <a:r>
              <a:rPr lang="en-GB" err="1"/>
              <a:t>dolores</a:t>
            </a:r>
            <a:r>
              <a:rPr lang="en-GB"/>
              <a:t> </a:t>
            </a:r>
            <a:r>
              <a:rPr lang="en-GB" err="1"/>
              <a:t>eos</a:t>
            </a:r>
            <a:r>
              <a:rPr lang="en-GB"/>
              <a:t> qui </a:t>
            </a:r>
            <a:r>
              <a:rPr lang="en-GB" err="1"/>
              <a:t>ratione</a:t>
            </a:r>
            <a:r>
              <a:rPr lang="en-GB"/>
              <a:t> </a:t>
            </a:r>
            <a:r>
              <a:rPr lang="en-GB" err="1"/>
              <a:t>voluptatem</a:t>
            </a:r>
            <a:r>
              <a:rPr lang="en-GB"/>
              <a:t> </a:t>
            </a:r>
            <a:r>
              <a:rPr lang="en-GB" err="1"/>
              <a:t>sequi</a:t>
            </a:r>
            <a:r>
              <a:rPr lang="en-GB"/>
              <a:t> </a:t>
            </a:r>
            <a:r>
              <a:rPr lang="en-GB" err="1"/>
              <a:t>nesciunt</a:t>
            </a:r>
            <a:r>
              <a:rPr lang="en-GB"/>
              <a:t>. </a:t>
            </a:r>
            <a:r>
              <a:rPr lang="en-GB" err="1"/>
              <a:t>Neque</a:t>
            </a:r>
            <a:r>
              <a:rPr lang="en-GB"/>
              <a:t> </a:t>
            </a:r>
            <a:r>
              <a:rPr lang="en-GB" err="1"/>
              <a:t>porro</a:t>
            </a:r>
            <a:r>
              <a:rPr lang="en-GB"/>
              <a:t> </a:t>
            </a:r>
            <a:r>
              <a:rPr lang="en-GB" err="1"/>
              <a:t>quisquam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, qui </a:t>
            </a:r>
            <a:r>
              <a:rPr lang="en-GB" err="1"/>
              <a:t>dolorem</a:t>
            </a:r>
            <a:r>
              <a:rPr lang="en-GB"/>
              <a:t> ipsum </a:t>
            </a:r>
            <a:r>
              <a:rPr lang="en-GB" err="1"/>
              <a:t>quia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, </a:t>
            </a:r>
            <a:r>
              <a:rPr lang="en-GB" err="1"/>
              <a:t>adipisci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quia</a:t>
            </a:r>
            <a:r>
              <a:rPr lang="en-GB"/>
              <a:t> non </a:t>
            </a:r>
            <a:r>
              <a:rPr lang="en-GB" err="1"/>
              <a:t>numquam</a:t>
            </a:r>
            <a:r>
              <a:rPr lang="en-GB"/>
              <a:t> </a:t>
            </a:r>
            <a:r>
              <a:rPr lang="en-GB" err="1"/>
              <a:t>eius</a:t>
            </a:r>
            <a:r>
              <a:rPr lang="en-GB"/>
              <a:t> </a:t>
            </a:r>
            <a:r>
              <a:rPr lang="en-GB" err="1"/>
              <a:t>modi</a:t>
            </a:r>
            <a:r>
              <a:rPr lang="en-GB"/>
              <a:t> </a:t>
            </a:r>
            <a:r>
              <a:rPr lang="en-GB" err="1"/>
              <a:t>tempora</a:t>
            </a:r>
            <a:r>
              <a:rPr lang="en-GB"/>
              <a:t> </a:t>
            </a:r>
            <a:r>
              <a:rPr lang="en-GB" err="1"/>
              <a:t>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labore et dolore </a:t>
            </a:r>
            <a:r>
              <a:rPr lang="en-GB" err="1"/>
              <a:t>magnam</a:t>
            </a:r>
            <a:r>
              <a:rPr lang="en-GB"/>
              <a:t>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quaerat</a:t>
            </a:r>
            <a:r>
              <a:rPr lang="en-GB"/>
              <a:t> </a:t>
            </a:r>
            <a:r>
              <a:rPr lang="en-GB" err="1"/>
              <a:t>voluptatem</a:t>
            </a:r>
            <a:r>
              <a:rPr lang="en-GB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170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Pebb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ext Placeholder 11">
            <a:extLst>
              <a:ext uri="{FF2B5EF4-FFF2-40B4-BE49-F238E27FC236}">
                <a16:creationId xmlns:a16="http://schemas.microsoft.com/office/drawing/2014/main" id="{260C0866-42F7-35D3-996A-A5C4501810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6354" y="905796"/>
            <a:ext cx="8431680" cy="3514264"/>
          </a:xfrm>
        </p:spPr>
        <p:txBody>
          <a:bodyPr anchor="b" anchorCtr="0">
            <a:noAutofit/>
          </a:bodyPr>
          <a:lstStyle>
            <a:lvl1pPr marL="0" indent="0">
              <a:spcBef>
                <a:spcPts val="0"/>
              </a:spcBef>
              <a:buNone/>
              <a:defRPr sz="6596" b="1">
                <a:solidFill>
                  <a:srgbClr val="47DA86"/>
                </a:solidFill>
                <a:latin typeface="+mj-lt"/>
              </a:defRPr>
            </a:lvl1pPr>
          </a:lstStyle>
          <a:p>
            <a:pPr lvl="0"/>
            <a:r>
              <a:rPr lang="en-GB"/>
              <a:t>A captivating headline</a:t>
            </a:r>
          </a:p>
        </p:txBody>
      </p:sp>
      <p:sp>
        <p:nvSpPr>
          <p:cNvPr id="77" name="Text Placeholder 11">
            <a:extLst>
              <a:ext uri="{FF2B5EF4-FFF2-40B4-BE49-F238E27FC236}">
                <a16:creationId xmlns:a16="http://schemas.microsoft.com/office/drawing/2014/main" id="{E5F2EDD0-06C6-9BD2-0A3E-968675239EC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86354" y="4737508"/>
            <a:ext cx="8431680" cy="4836174"/>
          </a:xfrm>
        </p:spPr>
        <p:txBody>
          <a:bodyPr>
            <a:noAutofit/>
          </a:bodyPr>
          <a:lstStyle>
            <a:lvl1pPr marL="0" indent="0">
              <a:buNone/>
              <a:defRPr sz="2309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Duis autem </a:t>
            </a:r>
            <a:r>
              <a:rPr lang="en-GB" err="1"/>
              <a:t>vel</a:t>
            </a:r>
            <a:r>
              <a:rPr lang="en-GB"/>
              <a:t> </a:t>
            </a:r>
            <a:r>
              <a:rPr lang="en-GB" err="1"/>
              <a:t>eum</a:t>
            </a:r>
            <a:r>
              <a:rPr lang="en-GB"/>
              <a:t> </a:t>
            </a:r>
            <a:r>
              <a:rPr lang="en-GB" err="1"/>
              <a:t>iriure</a:t>
            </a:r>
            <a:r>
              <a:rPr lang="en-GB"/>
              <a:t> </a:t>
            </a:r>
            <a:r>
              <a:rPr lang="en-GB" err="1"/>
              <a:t>dolor</a:t>
            </a:r>
            <a:r>
              <a:rPr lang="en-GB"/>
              <a:t> in </a:t>
            </a:r>
            <a:r>
              <a:rPr lang="en-GB" err="1"/>
              <a:t>hendrerit</a:t>
            </a:r>
            <a:r>
              <a:rPr lang="en-GB"/>
              <a:t> in </a:t>
            </a:r>
            <a:r>
              <a:rPr lang="en-GB" err="1"/>
              <a:t>vulputate</a:t>
            </a:r>
            <a:r>
              <a:rPr lang="en-GB"/>
              <a:t> </a:t>
            </a:r>
            <a:r>
              <a:rPr lang="en-GB" err="1"/>
              <a:t>velit</a:t>
            </a:r>
            <a:r>
              <a:rPr lang="en-GB"/>
              <a:t> </a:t>
            </a:r>
            <a:r>
              <a:rPr lang="en-GB" err="1"/>
              <a:t>esse</a:t>
            </a:r>
            <a:r>
              <a:rPr lang="en-GB"/>
              <a:t> </a:t>
            </a:r>
            <a:r>
              <a:rPr lang="en-GB" err="1"/>
              <a:t>molestie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, </a:t>
            </a:r>
            <a:r>
              <a:rPr lang="en-GB" err="1"/>
              <a:t>vel</a:t>
            </a:r>
            <a:r>
              <a:rPr lang="en-GB"/>
              <a:t> illum dolore </a:t>
            </a:r>
            <a:r>
              <a:rPr lang="en-GB" err="1"/>
              <a:t>eu</a:t>
            </a:r>
            <a:r>
              <a:rPr lang="en-GB"/>
              <a:t> </a:t>
            </a:r>
            <a:r>
              <a:rPr lang="en-GB" err="1"/>
              <a:t>feugiat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facilisis</a:t>
            </a:r>
            <a:r>
              <a:rPr lang="en-GB"/>
              <a:t> at </a:t>
            </a:r>
            <a:r>
              <a:rPr lang="en-GB" err="1"/>
              <a:t>vero</a:t>
            </a:r>
            <a:r>
              <a:rPr lang="en-GB"/>
              <a:t> eros et </a:t>
            </a:r>
            <a:r>
              <a:rPr lang="en-GB" err="1"/>
              <a:t>accumsan</a:t>
            </a:r>
            <a:r>
              <a:rPr lang="en-GB"/>
              <a:t> et </a:t>
            </a:r>
            <a:r>
              <a:rPr lang="en-GB" err="1"/>
              <a:t>iusto</a:t>
            </a:r>
            <a:r>
              <a:rPr lang="en-GB"/>
              <a:t> </a:t>
            </a:r>
            <a:r>
              <a:rPr lang="en-GB" err="1"/>
              <a:t>odio</a:t>
            </a:r>
            <a:r>
              <a:rPr lang="en-GB"/>
              <a:t> </a:t>
            </a:r>
            <a:r>
              <a:rPr lang="en-GB" err="1"/>
              <a:t>dignissim</a:t>
            </a:r>
            <a:r>
              <a:rPr lang="en-GB"/>
              <a:t> qui </a:t>
            </a:r>
            <a:r>
              <a:rPr lang="en-GB" err="1"/>
              <a:t>blandit</a:t>
            </a:r>
            <a:r>
              <a:rPr lang="en-GB"/>
              <a:t> </a:t>
            </a:r>
            <a:r>
              <a:rPr lang="en-GB" err="1"/>
              <a:t>praesent</a:t>
            </a:r>
            <a:r>
              <a:rPr lang="en-GB"/>
              <a:t> </a:t>
            </a:r>
            <a:r>
              <a:rPr lang="en-GB" err="1"/>
              <a:t>luptatum</a:t>
            </a:r>
            <a:r>
              <a:rPr lang="en-GB"/>
              <a:t> </a:t>
            </a:r>
            <a:r>
              <a:rPr lang="en-GB" err="1"/>
              <a:t>zzril</a:t>
            </a:r>
            <a:r>
              <a:rPr lang="en-GB"/>
              <a:t> </a:t>
            </a:r>
            <a:r>
              <a:rPr lang="en-GB" err="1"/>
              <a:t>delenit</a:t>
            </a:r>
            <a:r>
              <a:rPr lang="en-GB"/>
              <a:t> </a:t>
            </a:r>
            <a:r>
              <a:rPr lang="en-GB" err="1"/>
              <a:t>augue</a:t>
            </a:r>
            <a:r>
              <a:rPr lang="en-GB"/>
              <a:t> </a:t>
            </a:r>
            <a:r>
              <a:rPr lang="en-GB" err="1"/>
              <a:t>duis</a:t>
            </a:r>
            <a:r>
              <a:rPr lang="en-GB"/>
              <a:t> </a:t>
            </a:r>
            <a:r>
              <a:rPr lang="en-GB" err="1"/>
              <a:t>dolorete</a:t>
            </a:r>
            <a:r>
              <a:rPr lang="en-GB"/>
              <a:t> </a:t>
            </a:r>
            <a:r>
              <a:rPr lang="en-GB" err="1"/>
              <a:t>feugait</a:t>
            </a:r>
            <a:r>
              <a:rPr lang="en-GB"/>
              <a:t> </a:t>
            </a:r>
            <a:r>
              <a:rPr lang="en-GB" err="1"/>
              <a:t>nulla</a:t>
            </a:r>
            <a:r>
              <a:rPr lang="en-GB"/>
              <a:t> </a:t>
            </a:r>
            <a:r>
              <a:rPr lang="en-GB" err="1"/>
              <a:t>facilisi</a:t>
            </a:r>
            <a:r>
              <a:rPr lang="en-GB"/>
              <a:t>.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6D049BA-8763-7863-E7E0-8A31A943875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0575688" y="1220879"/>
            <a:ext cx="8458757" cy="7955829"/>
          </a:xfrm>
          <a:custGeom>
            <a:avLst/>
            <a:gdLst>
              <a:gd name="connsiteX0" fmla="*/ 1236921 w 2873596"/>
              <a:gd name="connsiteY0" fmla="*/ 501 h 2702552"/>
              <a:gd name="connsiteX1" fmla="*/ 2863008 w 2873596"/>
              <a:gd name="connsiteY1" fmla="*/ 1247274 h 2702552"/>
              <a:gd name="connsiteX2" fmla="*/ 1432002 w 2873596"/>
              <a:gd name="connsiteY2" fmla="*/ 2688059 h 2702552"/>
              <a:gd name="connsiteX3" fmla="*/ 83227 w 2873596"/>
              <a:gd name="connsiteY3" fmla="*/ 1943407 h 2702552"/>
              <a:gd name="connsiteX4" fmla="*/ 748901 w 2873596"/>
              <a:gd name="connsiteY4" fmla="*/ 105295 h 2702552"/>
              <a:gd name="connsiteX5" fmla="*/ 1236921 w 2873596"/>
              <a:gd name="connsiteY5" fmla="*/ 501 h 2702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3596" h="2702552">
                <a:moveTo>
                  <a:pt x="1236921" y="501"/>
                </a:moveTo>
                <a:cubicBezTo>
                  <a:pt x="1963411" y="-18569"/>
                  <a:pt x="2731272" y="509660"/>
                  <a:pt x="2863008" y="1247274"/>
                </a:cubicBezTo>
                <a:cubicBezTo>
                  <a:pt x="2977467" y="2067399"/>
                  <a:pt x="2141704" y="2622147"/>
                  <a:pt x="1432002" y="2688059"/>
                </a:cubicBezTo>
                <a:cubicBezTo>
                  <a:pt x="865585" y="2765808"/>
                  <a:pt x="273366" y="2532613"/>
                  <a:pt x="83227" y="1943407"/>
                </a:cubicBezTo>
                <a:cubicBezTo>
                  <a:pt x="-136064" y="1276576"/>
                  <a:pt x="75351" y="408357"/>
                  <a:pt x="748901" y="105295"/>
                </a:cubicBezTo>
                <a:cubicBezTo>
                  <a:pt x="903821" y="38449"/>
                  <a:pt x="1069269" y="4902"/>
                  <a:pt x="1236921" y="501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3958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A423C60-DB16-109A-762A-D048767B5E0D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0994303E-A424-9540-91A8-53B791C91E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2298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ext Placeholder 11">
            <a:extLst>
              <a:ext uri="{FF2B5EF4-FFF2-40B4-BE49-F238E27FC236}">
                <a16:creationId xmlns:a16="http://schemas.microsoft.com/office/drawing/2014/main" id="{260C0866-42F7-35D3-996A-A5C4501810A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86356" y="6192972"/>
            <a:ext cx="5256835" cy="85767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3958" b="1">
                <a:solidFill>
                  <a:srgbClr val="47DA86"/>
                </a:solidFill>
                <a:latin typeface="+mj-lt"/>
              </a:defRPr>
            </a:lvl1pPr>
          </a:lstStyle>
          <a:p>
            <a:pPr lvl="0"/>
            <a:r>
              <a:rPr lang="en-GB"/>
              <a:t>Header 1</a:t>
            </a:r>
          </a:p>
        </p:txBody>
      </p:sp>
      <p:sp>
        <p:nvSpPr>
          <p:cNvPr id="77" name="Text Placeholder 11">
            <a:extLst>
              <a:ext uri="{FF2B5EF4-FFF2-40B4-BE49-F238E27FC236}">
                <a16:creationId xmlns:a16="http://schemas.microsoft.com/office/drawing/2014/main" id="{E5F2EDD0-06C6-9BD2-0A3E-968675239EC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86356" y="7050644"/>
            <a:ext cx="5256835" cy="2523037"/>
          </a:xfrm>
        </p:spPr>
        <p:txBody>
          <a:bodyPr>
            <a:noAutofit/>
          </a:bodyPr>
          <a:lstStyle>
            <a:lvl1pPr marL="0" indent="0" algn="ctr">
              <a:buNone/>
              <a:defRPr sz="1979" b="0"/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C37CBB0-B119-C056-ACE1-050494F161B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618052" y="1162340"/>
            <a:ext cx="4862495" cy="4573390"/>
          </a:xfrm>
          <a:custGeom>
            <a:avLst/>
            <a:gdLst>
              <a:gd name="connsiteX0" fmla="*/ 1236921 w 2873596"/>
              <a:gd name="connsiteY0" fmla="*/ 501 h 2702552"/>
              <a:gd name="connsiteX1" fmla="*/ 2863008 w 2873596"/>
              <a:gd name="connsiteY1" fmla="*/ 1247274 h 2702552"/>
              <a:gd name="connsiteX2" fmla="*/ 1432002 w 2873596"/>
              <a:gd name="connsiteY2" fmla="*/ 2688059 h 2702552"/>
              <a:gd name="connsiteX3" fmla="*/ 83227 w 2873596"/>
              <a:gd name="connsiteY3" fmla="*/ 1943407 h 2702552"/>
              <a:gd name="connsiteX4" fmla="*/ 748901 w 2873596"/>
              <a:gd name="connsiteY4" fmla="*/ 105295 h 2702552"/>
              <a:gd name="connsiteX5" fmla="*/ 1236921 w 2873596"/>
              <a:gd name="connsiteY5" fmla="*/ 501 h 2702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3596" h="2702552">
                <a:moveTo>
                  <a:pt x="1236921" y="501"/>
                </a:moveTo>
                <a:cubicBezTo>
                  <a:pt x="1963411" y="-18569"/>
                  <a:pt x="2731272" y="509660"/>
                  <a:pt x="2863008" y="1247274"/>
                </a:cubicBezTo>
                <a:cubicBezTo>
                  <a:pt x="2977467" y="2067399"/>
                  <a:pt x="2141704" y="2622147"/>
                  <a:pt x="1432002" y="2688059"/>
                </a:cubicBezTo>
                <a:cubicBezTo>
                  <a:pt x="865585" y="2765808"/>
                  <a:pt x="273366" y="2532613"/>
                  <a:pt x="83227" y="1943407"/>
                </a:cubicBezTo>
                <a:cubicBezTo>
                  <a:pt x="-136064" y="1276576"/>
                  <a:pt x="75351" y="408357"/>
                  <a:pt x="748901" y="105295"/>
                </a:cubicBezTo>
                <a:cubicBezTo>
                  <a:pt x="903821" y="38449"/>
                  <a:pt x="1069269" y="4902"/>
                  <a:pt x="1236921" y="501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2968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1C0119C8-1D9A-0DFA-77E1-D96E4EC7082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20882" y="7050644"/>
            <a:ext cx="5256835" cy="2523037"/>
          </a:xfrm>
        </p:spPr>
        <p:txBody>
          <a:bodyPr>
            <a:noAutofit/>
          </a:bodyPr>
          <a:lstStyle>
            <a:lvl1pPr marL="0" indent="0" algn="ctr">
              <a:buNone/>
              <a:defRPr sz="1979" b="0"/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D2914D5C-66D1-2DD5-239D-D767E5AD9FB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758160" y="7050644"/>
            <a:ext cx="5256835" cy="2523037"/>
          </a:xfrm>
        </p:spPr>
        <p:txBody>
          <a:bodyPr>
            <a:noAutofit/>
          </a:bodyPr>
          <a:lstStyle>
            <a:lvl1pPr marL="0" indent="0" algn="ctr">
              <a:buNone/>
              <a:defRPr sz="1979" b="0"/>
            </a:lvl1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e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</a:t>
            </a:r>
            <a:r>
              <a:rPr lang="en-GB" err="1"/>
              <a:t>diam</a:t>
            </a:r>
            <a:r>
              <a:rPr lang="en-GB"/>
              <a:t> </a:t>
            </a:r>
            <a:r>
              <a:rPr lang="en-GB" err="1"/>
              <a:t>nonummy</a:t>
            </a:r>
            <a:r>
              <a:rPr lang="en-GB"/>
              <a:t> </a:t>
            </a:r>
            <a:r>
              <a:rPr lang="en-GB" err="1"/>
              <a:t>nibh</a:t>
            </a:r>
            <a:r>
              <a:rPr lang="en-GB"/>
              <a:t> </a:t>
            </a:r>
            <a:r>
              <a:rPr lang="en-GB" err="1"/>
              <a:t>euismod</a:t>
            </a:r>
            <a:r>
              <a:rPr lang="en-GB"/>
              <a:t> </a:t>
            </a:r>
            <a:r>
              <a:rPr lang="en-GB" err="1"/>
              <a:t>tinc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oreet</a:t>
            </a:r>
            <a:r>
              <a:rPr lang="en-GB"/>
              <a:t> dolore magna </a:t>
            </a:r>
            <a:r>
              <a:rPr lang="en-GB" err="1"/>
              <a:t>aliquam</a:t>
            </a:r>
            <a:r>
              <a:rPr lang="en-GB"/>
              <a:t> </a:t>
            </a:r>
            <a:r>
              <a:rPr lang="en-GB" err="1"/>
              <a:t>erat</a:t>
            </a:r>
            <a:r>
              <a:rPr lang="en-GB"/>
              <a:t> </a:t>
            </a:r>
            <a:r>
              <a:rPr lang="en-GB" err="1"/>
              <a:t>volutpat</a:t>
            </a:r>
            <a:r>
              <a:rPr lang="en-GB"/>
              <a:t>. Ut </a:t>
            </a:r>
            <a:r>
              <a:rPr lang="en-GB" err="1"/>
              <a:t>wisi</a:t>
            </a:r>
            <a:r>
              <a:rPr lang="en-GB"/>
              <a:t> </a:t>
            </a:r>
            <a:r>
              <a:rPr lang="en-GB" err="1"/>
              <a:t>enim</a:t>
            </a:r>
            <a:r>
              <a:rPr lang="en-GB"/>
              <a:t> ad minim </a:t>
            </a:r>
            <a:r>
              <a:rPr lang="en-GB" err="1"/>
              <a:t>veniam</a:t>
            </a:r>
            <a:r>
              <a:rPr lang="en-GB"/>
              <a:t>, </a:t>
            </a:r>
            <a:r>
              <a:rPr lang="en-GB" err="1"/>
              <a:t>quis</a:t>
            </a:r>
            <a:r>
              <a:rPr lang="en-GB"/>
              <a:t> </a:t>
            </a:r>
            <a:r>
              <a:rPr lang="en-GB" err="1"/>
              <a:t>nostrud</a:t>
            </a:r>
            <a:r>
              <a:rPr lang="en-GB"/>
              <a:t> </a:t>
            </a:r>
            <a:r>
              <a:rPr lang="en-GB" err="1"/>
              <a:t>exerci</a:t>
            </a:r>
            <a:r>
              <a:rPr lang="en-GB"/>
              <a:t> </a:t>
            </a:r>
            <a:r>
              <a:rPr lang="en-GB" err="1"/>
              <a:t>tation</a:t>
            </a:r>
            <a:r>
              <a:rPr lang="en-GB"/>
              <a:t> </a:t>
            </a:r>
            <a:r>
              <a:rPr lang="en-GB" err="1"/>
              <a:t>ullamcorper</a:t>
            </a:r>
            <a:r>
              <a:rPr lang="en-GB"/>
              <a:t> </a:t>
            </a:r>
            <a:r>
              <a:rPr lang="en-GB" err="1"/>
              <a:t>suscipit</a:t>
            </a:r>
            <a:r>
              <a:rPr lang="en-GB"/>
              <a:t> </a:t>
            </a:r>
            <a:r>
              <a:rPr lang="en-GB" err="1"/>
              <a:t>lobortis</a:t>
            </a:r>
            <a:r>
              <a:rPr lang="en-GB"/>
              <a:t> </a:t>
            </a:r>
            <a:r>
              <a:rPr lang="en-GB" err="1"/>
              <a:t>nisl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aliquip</a:t>
            </a:r>
            <a:r>
              <a:rPr lang="en-GB"/>
              <a:t> ex </a:t>
            </a:r>
            <a:r>
              <a:rPr lang="en-GB" err="1"/>
              <a:t>ea</a:t>
            </a:r>
            <a:r>
              <a:rPr lang="en-GB"/>
              <a:t> </a:t>
            </a:r>
            <a:r>
              <a:rPr lang="en-GB" err="1"/>
              <a:t>commodo</a:t>
            </a:r>
            <a:r>
              <a:rPr lang="en-GB"/>
              <a:t> </a:t>
            </a:r>
            <a:r>
              <a:rPr lang="en-GB" err="1"/>
              <a:t>consequat</a:t>
            </a:r>
            <a:r>
              <a:rPr lang="en-GB"/>
              <a:t>. 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5EAB911-B33D-DF2F-9631-A9EE94552AD8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3955330" y="1162340"/>
            <a:ext cx="4862495" cy="4573390"/>
          </a:xfrm>
          <a:custGeom>
            <a:avLst/>
            <a:gdLst>
              <a:gd name="connsiteX0" fmla="*/ 1236921 w 2873596"/>
              <a:gd name="connsiteY0" fmla="*/ 501 h 2702552"/>
              <a:gd name="connsiteX1" fmla="*/ 2863008 w 2873596"/>
              <a:gd name="connsiteY1" fmla="*/ 1247274 h 2702552"/>
              <a:gd name="connsiteX2" fmla="*/ 1432002 w 2873596"/>
              <a:gd name="connsiteY2" fmla="*/ 2688059 h 2702552"/>
              <a:gd name="connsiteX3" fmla="*/ 83227 w 2873596"/>
              <a:gd name="connsiteY3" fmla="*/ 1943407 h 2702552"/>
              <a:gd name="connsiteX4" fmla="*/ 748901 w 2873596"/>
              <a:gd name="connsiteY4" fmla="*/ 105295 h 2702552"/>
              <a:gd name="connsiteX5" fmla="*/ 1236921 w 2873596"/>
              <a:gd name="connsiteY5" fmla="*/ 501 h 2702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3596" h="2702552">
                <a:moveTo>
                  <a:pt x="1236921" y="501"/>
                </a:moveTo>
                <a:cubicBezTo>
                  <a:pt x="1963411" y="-18569"/>
                  <a:pt x="2731272" y="509660"/>
                  <a:pt x="2863008" y="1247274"/>
                </a:cubicBezTo>
                <a:cubicBezTo>
                  <a:pt x="2977467" y="2067399"/>
                  <a:pt x="2141704" y="2622147"/>
                  <a:pt x="1432002" y="2688059"/>
                </a:cubicBezTo>
                <a:cubicBezTo>
                  <a:pt x="865585" y="2765808"/>
                  <a:pt x="273366" y="2532613"/>
                  <a:pt x="83227" y="1943407"/>
                </a:cubicBezTo>
                <a:cubicBezTo>
                  <a:pt x="-136064" y="1276576"/>
                  <a:pt x="75351" y="408357"/>
                  <a:pt x="748901" y="105295"/>
                </a:cubicBezTo>
                <a:cubicBezTo>
                  <a:pt x="903821" y="38449"/>
                  <a:pt x="1069269" y="4902"/>
                  <a:pt x="1236921" y="501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2968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680FA60A-84B6-E342-F780-1771576770F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283526" y="1162340"/>
            <a:ext cx="4862495" cy="4573390"/>
          </a:xfrm>
          <a:custGeom>
            <a:avLst/>
            <a:gdLst>
              <a:gd name="connsiteX0" fmla="*/ 1236921 w 2873596"/>
              <a:gd name="connsiteY0" fmla="*/ 501 h 2702552"/>
              <a:gd name="connsiteX1" fmla="*/ 2863008 w 2873596"/>
              <a:gd name="connsiteY1" fmla="*/ 1247274 h 2702552"/>
              <a:gd name="connsiteX2" fmla="*/ 1432002 w 2873596"/>
              <a:gd name="connsiteY2" fmla="*/ 2688059 h 2702552"/>
              <a:gd name="connsiteX3" fmla="*/ 83227 w 2873596"/>
              <a:gd name="connsiteY3" fmla="*/ 1943407 h 2702552"/>
              <a:gd name="connsiteX4" fmla="*/ 748901 w 2873596"/>
              <a:gd name="connsiteY4" fmla="*/ 105295 h 2702552"/>
              <a:gd name="connsiteX5" fmla="*/ 1236921 w 2873596"/>
              <a:gd name="connsiteY5" fmla="*/ 501 h 27025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73596" h="2702552">
                <a:moveTo>
                  <a:pt x="1236921" y="501"/>
                </a:moveTo>
                <a:cubicBezTo>
                  <a:pt x="1963411" y="-18569"/>
                  <a:pt x="2731272" y="509660"/>
                  <a:pt x="2863008" y="1247274"/>
                </a:cubicBezTo>
                <a:cubicBezTo>
                  <a:pt x="2977467" y="2067399"/>
                  <a:pt x="2141704" y="2622147"/>
                  <a:pt x="1432002" y="2688059"/>
                </a:cubicBezTo>
                <a:cubicBezTo>
                  <a:pt x="865585" y="2765808"/>
                  <a:pt x="273366" y="2532613"/>
                  <a:pt x="83227" y="1943407"/>
                </a:cubicBezTo>
                <a:cubicBezTo>
                  <a:pt x="-136064" y="1276576"/>
                  <a:pt x="75351" y="408357"/>
                  <a:pt x="748901" y="105295"/>
                </a:cubicBezTo>
                <a:cubicBezTo>
                  <a:pt x="903821" y="38449"/>
                  <a:pt x="1069269" y="4902"/>
                  <a:pt x="1236921" y="501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2968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4CDAB5D0-7F86-EA91-AB9B-1A439E9373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20882" y="6192972"/>
            <a:ext cx="5256835" cy="85767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3958" b="1">
                <a:solidFill>
                  <a:srgbClr val="47DA86"/>
                </a:solidFill>
                <a:latin typeface="+mj-lt"/>
              </a:defRPr>
            </a:lvl1pPr>
          </a:lstStyle>
          <a:p>
            <a:pPr lvl="0"/>
            <a:r>
              <a:rPr lang="en-GB"/>
              <a:t>Header 2</a:t>
            </a:r>
          </a:p>
        </p:txBody>
      </p:sp>
      <p:sp>
        <p:nvSpPr>
          <p:cNvPr id="20" name="Text Placeholder 11">
            <a:extLst>
              <a:ext uri="{FF2B5EF4-FFF2-40B4-BE49-F238E27FC236}">
                <a16:creationId xmlns:a16="http://schemas.microsoft.com/office/drawing/2014/main" id="{7FC37118-FC7D-57FD-16B1-A498B8326CE2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758160" y="6192972"/>
            <a:ext cx="5256835" cy="857670"/>
          </a:xfrm>
        </p:spPr>
        <p:txBody>
          <a:bodyPr>
            <a:noAutofit/>
          </a:bodyPr>
          <a:lstStyle>
            <a:lvl1pPr marL="0" indent="0" algn="ctr">
              <a:spcBef>
                <a:spcPts val="0"/>
              </a:spcBef>
              <a:buNone/>
              <a:defRPr sz="3958" b="1">
                <a:solidFill>
                  <a:srgbClr val="47DA86"/>
                </a:solidFill>
                <a:latin typeface="+mj-lt"/>
              </a:defRPr>
            </a:lvl1pPr>
          </a:lstStyle>
          <a:p>
            <a:pPr lvl="0"/>
            <a:r>
              <a:rPr lang="en-GB"/>
              <a:t>Header 3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720F34-EE38-1EB6-D2BC-389D6E7C2435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0994303E-A424-9540-91A8-53B791C91E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71892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ebbles (G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720F34-EE38-1EB6-D2BC-389D6E7C2435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0994303E-A424-9540-91A8-53B791C91E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Picture Placeholder 65">
            <a:extLst>
              <a:ext uri="{FF2B5EF4-FFF2-40B4-BE49-F238E27FC236}">
                <a16:creationId xmlns:a16="http://schemas.microsoft.com/office/drawing/2014/main" id="{9837690D-0E7C-A9A8-61D2-D0E7E326062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732944" y="5970644"/>
            <a:ext cx="1902992" cy="1920426"/>
          </a:xfrm>
          <a:custGeom>
            <a:avLst/>
            <a:gdLst>
              <a:gd name="connsiteX0" fmla="*/ 620546 w 1154057"/>
              <a:gd name="connsiteY0" fmla="*/ 1074 h 1164548"/>
              <a:gd name="connsiteX1" fmla="*/ 740037 w 1154057"/>
              <a:gd name="connsiteY1" fmla="*/ 30926 h 1164548"/>
              <a:gd name="connsiteX2" fmla="*/ 1149079 w 1154057"/>
              <a:gd name="connsiteY2" fmla="*/ 544452 h 1164548"/>
              <a:gd name="connsiteX3" fmla="*/ 1006132 w 1154057"/>
              <a:gd name="connsiteY3" fmla="*/ 957097 h 1164548"/>
              <a:gd name="connsiteX4" fmla="*/ 883647 w 1154057"/>
              <a:gd name="connsiteY4" fmla="*/ 1053039 h 1164548"/>
              <a:gd name="connsiteX5" fmla="*/ 162661 w 1154057"/>
              <a:gd name="connsiteY5" fmla="*/ 1067667 h 1164548"/>
              <a:gd name="connsiteX6" fmla="*/ 579 w 1154057"/>
              <a:gd name="connsiteY6" fmla="*/ 741180 h 1164548"/>
              <a:gd name="connsiteX7" fmla="*/ 256727 w 1154057"/>
              <a:gd name="connsiteY7" fmla="*/ 146531 h 1164548"/>
              <a:gd name="connsiteX8" fmla="*/ 620546 w 1154057"/>
              <a:gd name="connsiteY8" fmla="*/ 1074 h 1164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54057" h="1164548">
                <a:moveTo>
                  <a:pt x="620546" y="1074"/>
                </a:moveTo>
                <a:cubicBezTo>
                  <a:pt x="661868" y="4174"/>
                  <a:pt x="702145" y="14018"/>
                  <a:pt x="740037" y="30926"/>
                </a:cubicBezTo>
                <a:cubicBezTo>
                  <a:pt x="949389" y="123543"/>
                  <a:pt x="1117629" y="334710"/>
                  <a:pt x="1149079" y="544452"/>
                </a:cubicBezTo>
                <a:cubicBezTo>
                  <a:pt x="1171057" y="698529"/>
                  <a:pt x="1119713" y="843201"/>
                  <a:pt x="1006132" y="957097"/>
                </a:cubicBezTo>
                <a:cubicBezTo>
                  <a:pt x="971083" y="992244"/>
                  <a:pt x="930159" y="1024446"/>
                  <a:pt x="883647" y="1053039"/>
                </a:cubicBezTo>
                <a:cubicBezTo>
                  <a:pt x="651181" y="1196096"/>
                  <a:pt x="354772" y="1202081"/>
                  <a:pt x="162661" y="1067667"/>
                </a:cubicBezTo>
                <a:cubicBezTo>
                  <a:pt x="62721" y="988634"/>
                  <a:pt x="6736" y="875689"/>
                  <a:pt x="579" y="741180"/>
                </a:cubicBezTo>
                <a:cubicBezTo>
                  <a:pt x="-8705" y="539607"/>
                  <a:pt x="94456" y="299943"/>
                  <a:pt x="256727" y="146531"/>
                </a:cubicBezTo>
                <a:cubicBezTo>
                  <a:pt x="363227" y="43156"/>
                  <a:pt x="496583" y="-8228"/>
                  <a:pt x="620546" y="1074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49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5" name="Picture Placeholder 66">
            <a:extLst>
              <a:ext uri="{FF2B5EF4-FFF2-40B4-BE49-F238E27FC236}">
                <a16:creationId xmlns:a16="http://schemas.microsoft.com/office/drawing/2014/main" id="{901EA444-14DF-630E-978D-84C0117E66D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2879041" y="5950433"/>
            <a:ext cx="1826853" cy="1960848"/>
          </a:xfrm>
          <a:custGeom>
            <a:avLst/>
            <a:gdLst>
              <a:gd name="connsiteX0" fmla="*/ 518352 w 1107883"/>
              <a:gd name="connsiteY0" fmla="*/ 3 h 1189060"/>
              <a:gd name="connsiteX1" fmla="*/ 916906 w 1107883"/>
              <a:gd name="connsiteY1" fmla="*/ 119284 h 1189060"/>
              <a:gd name="connsiteX2" fmla="*/ 1107883 w 1107883"/>
              <a:gd name="connsiteY2" fmla="*/ 511437 h 1189060"/>
              <a:gd name="connsiteX3" fmla="*/ 1088833 w 1107883"/>
              <a:gd name="connsiteY3" fmla="*/ 665779 h 1189060"/>
              <a:gd name="connsiteX4" fmla="*/ 586579 w 1107883"/>
              <a:gd name="connsiteY4" fmla="*/ 1186029 h 1189060"/>
              <a:gd name="connsiteX5" fmla="*/ 239869 w 1107883"/>
              <a:gd name="connsiteY5" fmla="*/ 1070344 h 1189060"/>
              <a:gd name="connsiteX6" fmla="*/ 316 w 1107883"/>
              <a:gd name="connsiteY6" fmla="*/ 469749 h 1189060"/>
              <a:gd name="connsiteX7" fmla="*/ 261967 w 1107883"/>
              <a:gd name="connsiteY7" fmla="*/ 46424 h 1189060"/>
              <a:gd name="connsiteX8" fmla="*/ 518352 w 1107883"/>
              <a:gd name="connsiteY8" fmla="*/ 3 h 11890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7883" h="1189060">
                <a:moveTo>
                  <a:pt x="518352" y="3"/>
                </a:moveTo>
                <a:cubicBezTo>
                  <a:pt x="664673" y="-378"/>
                  <a:pt x="809989" y="40763"/>
                  <a:pt x="916906" y="119284"/>
                </a:cubicBezTo>
                <a:cubicBezTo>
                  <a:pt x="1041779" y="212419"/>
                  <a:pt x="1107883" y="350748"/>
                  <a:pt x="1107883" y="511437"/>
                </a:cubicBezTo>
                <a:cubicBezTo>
                  <a:pt x="1107883" y="560990"/>
                  <a:pt x="1101596" y="612626"/>
                  <a:pt x="1088833" y="665779"/>
                </a:cubicBezTo>
                <a:cubicBezTo>
                  <a:pt x="1025015" y="931068"/>
                  <a:pt x="818513" y="1144909"/>
                  <a:pt x="586579" y="1186029"/>
                </a:cubicBezTo>
                <a:cubicBezTo>
                  <a:pt x="459516" y="1200904"/>
                  <a:pt x="339596" y="1160827"/>
                  <a:pt x="239869" y="1070344"/>
                </a:cubicBezTo>
                <a:cubicBezTo>
                  <a:pt x="90327" y="934668"/>
                  <a:pt x="-6257" y="692781"/>
                  <a:pt x="316" y="469749"/>
                </a:cubicBezTo>
                <a:cubicBezTo>
                  <a:pt x="3554" y="272109"/>
                  <a:pt x="106234" y="105924"/>
                  <a:pt x="261967" y="46424"/>
                </a:cubicBezTo>
                <a:cubicBezTo>
                  <a:pt x="342406" y="15407"/>
                  <a:pt x="430560" y="231"/>
                  <a:pt x="518352" y="3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49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6" name="Picture Placeholder 67">
            <a:extLst>
              <a:ext uri="{FF2B5EF4-FFF2-40B4-BE49-F238E27FC236}">
                <a16:creationId xmlns:a16="http://schemas.microsoft.com/office/drawing/2014/main" id="{0E68EB39-C372-168A-A3CC-8F3CF1317A8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12867921" y="3390357"/>
            <a:ext cx="1920141" cy="1903125"/>
          </a:xfrm>
          <a:custGeom>
            <a:avLst/>
            <a:gdLst>
              <a:gd name="connsiteX0" fmla="*/ 657822 w 1164457"/>
              <a:gd name="connsiteY0" fmla="*/ 2070 h 1154057"/>
              <a:gd name="connsiteX1" fmla="*/ 957005 w 1164457"/>
              <a:gd name="connsiteY1" fmla="*/ 147925 h 1154057"/>
              <a:gd name="connsiteX2" fmla="*/ 1052947 w 1164457"/>
              <a:gd name="connsiteY2" fmla="*/ 270411 h 1154057"/>
              <a:gd name="connsiteX3" fmla="*/ 1067576 w 1164457"/>
              <a:gd name="connsiteY3" fmla="*/ 991397 h 1154057"/>
              <a:gd name="connsiteX4" fmla="*/ 741089 w 1164457"/>
              <a:gd name="connsiteY4" fmla="*/ 1153384 h 1154057"/>
              <a:gd name="connsiteX5" fmla="*/ 741184 w 1164457"/>
              <a:gd name="connsiteY5" fmla="*/ 1153479 h 1154057"/>
              <a:gd name="connsiteX6" fmla="*/ 146440 w 1164457"/>
              <a:gd name="connsiteY6" fmla="*/ 897331 h 1154057"/>
              <a:gd name="connsiteX7" fmla="*/ 30930 w 1164457"/>
              <a:gd name="connsiteY7" fmla="*/ 414021 h 1154057"/>
              <a:gd name="connsiteX8" fmla="*/ 544361 w 1164457"/>
              <a:gd name="connsiteY8" fmla="*/ 4979 h 1154057"/>
              <a:gd name="connsiteX9" fmla="*/ 657822 w 1164457"/>
              <a:gd name="connsiteY9" fmla="*/ 2070 h 1154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64457" h="1154057">
                <a:moveTo>
                  <a:pt x="657822" y="2070"/>
                </a:moveTo>
                <a:cubicBezTo>
                  <a:pt x="768851" y="12563"/>
                  <a:pt x="871584" y="62740"/>
                  <a:pt x="957005" y="147925"/>
                </a:cubicBezTo>
                <a:cubicBezTo>
                  <a:pt x="992152" y="182975"/>
                  <a:pt x="1024355" y="223898"/>
                  <a:pt x="1052947" y="270411"/>
                </a:cubicBezTo>
                <a:cubicBezTo>
                  <a:pt x="1196005" y="502877"/>
                  <a:pt x="1201990" y="799286"/>
                  <a:pt x="1067576" y="991397"/>
                </a:cubicBezTo>
                <a:cubicBezTo>
                  <a:pt x="988543" y="1091242"/>
                  <a:pt x="875502" y="1147227"/>
                  <a:pt x="741089" y="1153384"/>
                </a:cubicBezTo>
                <a:lnTo>
                  <a:pt x="741184" y="1153479"/>
                </a:lnTo>
                <a:cubicBezTo>
                  <a:pt x="539516" y="1162763"/>
                  <a:pt x="299947" y="1059602"/>
                  <a:pt x="146440" y="897331"/>
                </a:cubicBezTo>
                <a:cubicBezTo>
                  <a:pt x="8702" y="755331"/>
                  <a:pt x="-36705" y="565588"/>
                  <a:pt x="30930" y="414021"/>
                </a:cubicBezTo>
                <a:cubicBezTo>
                  <a:pt x="123547" y="204668"/>
                  <a:pt x="334714" y="36429"/>
                  <a:pt x="544361" y="4979"/>
                </a:cubicBezTo>
                <a:cubicBezTo>
                  <a:pt x="582880" y="-515"/>
                  <a:pt x="620812" y="-1427"/>
                  <a:pt x="657822" y="207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49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7" name="Picture Placeholder 68">
            <a:extLst>
              <a:ext uri="{FF2B5EF4-FFF2-40B4-BE49-F238E27FC236}">
                <a16:creationId xmlns:a16="http://schemas.microsoft.com/office/drawing/2014/main" id="{CC390C26-22D6-1A6E-8B73-EB0A727B0C7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4949000" y="6017368"/>
            <a:ext cx="1960712" cy="1826981"/>
          </a:xfrm>
          <a:custGeom>
            <a:avLst/>
            <a:gdLst>
              <a:gd name="connsiteX0" fmla="*/ 719312 w 1189061"/>
              <a:gd name="connsiteY0" fmla="*/ 316 h 1107883"/>
              <a:gd name="connsiteX1" fmla="*/ 1142638 w 1189061"/>
              <a:gd name="connsiteY1" fmla="*/ 261967 h 1107883"/>
              <a:gd name="connsiteX2" fmla="*/ 1069778 w 1189061"/>
              <a:gd name="connsiteY2" fmla="*/ 916906 h 1107883"/>
              <a:gd name="connsiteX3" fmla="*/ 677624 w 1189061"/>
              <a:gd name="connsiteY3" fmla="*/ 1107883 h 1107883"/>
              <a:gd name="connsiteX4" fmla="*/ 523283 w 1189061"/>
              <a:gd name="connsiteY4" fmla="*/ 1088833 h 1107883"/>
              <a:gd name="connsiteX5" fmla="*/ 3032 w 1189061"/>
              <a:gd name="connsiteY5" fmla="*/ 586579 h 1107883"/>
              <a:gd name="connsiteX6" fmla="*/ 118717 w 1189061"/>
              <a:gd name="connsiteY6" fmla="*/ 239869 h 1107883"/>
              <a:gd name="connsiteX7" fmla="*/ 719312 w 1189061"/>
              <a:gd name="connsiteY7" fmla="*/ 316 h 11078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9061" h="1107883">
                <a:moveTo>
                  <a:pt x="719312" y="316"/>
                </a:moveTo>
                <a:cubicBezTo>
                  <a:pt x="916953" y="3554"/>
                  <a:pt x="1083137" y="106234"/>
                  <a:pt x="1142638" y="261967"/>
                </a:cubicBezTo>
                <a:cubicBezTo>
                  <a:pt x="1225351" y="476470"/>
                  <a:pt x="1195411" y="745838"/>
                  <a:pt x="1069778" y="916906"/>
                </a:cubicBezTo>
                <a:cubicBezTo>
                  <a:pt x="976643" y="1041779"/>
                  <a:pt x="838313" y="1107883"/>
                  <a:pt x="677624" y="1107883"/>
                </a:cubicBezTo>
                <a:cubicBezTo>
                  <a:pt x="628072" y="1107883"/>
                  <a:pt x="576435" y="1101596"/>
                  <a:pt x="523283" y="1088833"/>
                </a:cubicBezTo>
                <a:cubicBezTo>
                  <a:pt x="257994" y="1025015"/>
                  <a:pt x="44152" y="818513"/>
                  <a:pt x="3032" y="586579"/>
                </a:cubicBezTo>
                <a:cubicBezTo>
                  <a:pt x="-11843" y="459516"/>
                  <a:pt x="28235" y="339596"/>
                  <a:pt x="118717" y="239869"/>
                </a:cubicBezTo>
                <a:cubicBezTo>
                  <a:pt x="254394" y="90327"/>
                  <a:pt x="496280" y="-6257"/>
                  <a:pt x="719312" y="316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49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8" name="Picture Placeholder 69">
            <a:extLst>
              <a:ext uri="{FF2B5EF4-FFF2-40B4-BE49-F238E27FC236}">
                <a16:creationId xmlns:a16="http://schemas.microsoft.com/office/drawing/2014/main" id="{636EDA37-306D-666A-B716-712DC566744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4991187" y="3390357"/>
            <a:ext cx="1920431" cy="1903125"/>
          </a:xfrm>
          <a:custGeom>
            <a:avLst/>
            <a:gdLst>
              <a:gd name="connsiteX0" fmla="*/ 423358 w 1164633"/>
              <a:gd name="connsiteY0" fmla="*/ 579 h 1154057"/>
              <a:gd name="connsiteX1" fmla="*/ 1018102 w 1164633"/>
              <a:gd name="connsiteY1" fmla="*/ 256727 h 1154057"/>
              <a:gd name="connsiteX2" fmla="*/ 1133708 w 1164633"/>
              <a:gd name="connsiteY2" fmla="*/ 740037 h 1154057"/>
              <a:gd name="connsiteX3" fmla="*/ 620182 w 1164633"/>
              <a:gd name="connsiteY3" fmla="*/ 1149079 h 1154057"/>
              <a:gd name="connsiteX4" fmla="*/ 207537 w 1164633"/>
              <a:gd name="connsiteY4" fmla="*/ 1006132 h 1154057"/>
              <a:gd name="connsiteX5" fmla="*/ 111595 w 1164633"/>
              <a:gd name="connsiteY5" fmla="*/ 883647 h 1154057"/>
              <a:gd name="connsiteX6" fmla="*/ 96871 w 1164633"/>
              <a:gd name="connsiteY6" fmla="*/ 162661 h 1154057"/>
              <a:gd name="connsiteX7" fmla="*/ 423358 w 1164633"/>
              <a:gd name="connsiteY7" fmla="*/ 579 h 11540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64633" h="1154057">
                <a:moveTo>
                  <a:pt x="423358" y="579"/>
                </a:moveTo>
                <a:cubicBezTo>
                  <a:pt x="625026" y="-8705"/>
                  <a:pt x="864596" y="94456"/>
                  <a:pt x="1018102" y="256727"/>
                </a:cubicBezTo>
                <a:cubicBezTo>
                  <a:pt x="1155936" y="398727"/>
                  <a:pt x="1201342" y="588470"/>
                  <a:pt x="1133708" y="740037"/>
                </a:cubicBezTo>
                <a:cubicBezTo>
                  <a:pt x="1041090" y="949389"/>
                  <a:pt x="829924" y="1117629"/>
                  <a:pt x="620182" y="1149079"/>
                </a:cubicBezTo>
                <a:cubicBezTo>
                  <a:pt x="466105" y="1171057"/>
                  <a:pt x="321432" y="1119713"/>
                  <a:pt x="207537" y="1006132"/>
                </a:cubicBezTo>
                <a:cubicBezTo>
                  <a:pt x="172390" y="971083"/>
                  <a:pt x="140188" y="930159"/>
                  <a:pt x="111595" y="883647"/>
                </a:cubicBezTo>
                <a:cubicBezTo>
                  <a:pt x="-31558" y="651181"/>
                  <a:pt x="-37542" y="354772"/>
                  <a:pt x="96871" y="162661"/>
                </a:cubicBezTo>
                <a:cubicBezTo>
                  <a:pt x="175905" y="62721"/>
                  <a:pt x="288850" y="6736"/>
                  <a:pt x="423358" y="579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49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9" name="Picture Placeholder 70">
            <a:extLst>
              <a:ext uri="{FF2B5EF4-FFF2-40B4-BE49-F238E27FC236}">
                <a16:creationId xmlns:a16="http://schemas.microsoft.com/office/drawing/2014/main" id="{F44AAF14-9864-C522-76DD-39D054272F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17152819" y="5950434"/>
            <a:ext cx="1826851" cy="1960850"/>
          </a:xfrm>
          <a:custGeom>
            <a:avLst/>
            <a:gdLst>
              <a:gd name="connsiteX0" fmla="*/ 615058 w 1107882"/>
              <a:gd name="connsiteY0" fmla="*/ 2108 h 1189061"/>
              <a:gd name="connsiteX1" fmla="*/ 868013 w 1107882"/>
              <a:gd name="connsiteY1" fmla="*/ 118717 h 1189061"/>
              <a:gd name="connsiteX2" fmla="*/ 1107567 w 1107882"/>
              <a:gd name="connsiteY2" fmla="*/ 719312 h 1189061"/>
              <a:gd name="connsiteX3" fmla="*/ 845915 w 1107882"/>
              <a:gd name="connsiteY3" fmla="*/ 1142638 h 1189061"/>
              <a:gd name="connsiteX4" fmla="*/ 190976 w 1107882"/>
              <a:gd name="connsiteY4" fmla="*/ 1069778 h 1189061"/>
              <a:gd name="connsiteX5" fmla="*/ 0 w 1107882"/>
              <a:gd name="connsiteY5" fmla="*/ 677624 h 1189061"/>
              <a:gd name="connsiteX6" fmla="*/ 19050 w 1107882"/>
              <a:gd name="connsiteY6" fmla="*/ 523283 h 1189061"/>
              <a:gd name="connsiteX7" fmla="*/ 521303 w 1107882"/>
              <a:gd name="connsiteY7" fmla="*/ 3032 h 1189061"/>
              <a:gd name="connsiteX8" fmla="*/ 615058 w 1107882"/>
              <a:gd name="connsiteY8" fmla="*/ 2108 h 11890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107882" h="1189061">
                <a:moveTo>
                  <a:pt x="615058" y="2108"/>
                </a:moveTo>
                <a:cubicBezTo>
                  <a:pt x="707065" y="11346"/>
                  <a:pt x="793218" y="50856"/>
                  <a:pt x="868013" y="118717"/>
                </a:cubicBezTo>
                <a:cubicBezTo>
                  <a:pt x="1017556" y="254394"/>
                  <a:pt x="1114139" y="496280"/>
                  <a:pt x="1107567" y="719312"/>
                </a:cubicBezTo>
                <a:cubicBezTo>
                  <a:pt x="1104329" y="916953"/>
                  <a:pt x="1001649" y="1083137"/>
                  <a:pt x="845915" y="1142638"/>
                </a:cubicBezTo>
                <a:cubicBezTo>
                  <a:pt x="631412" y="1225351"/>
                  <a:pt x="362045" y="1195411"/>
                  <a:pt x="190976" y="1069778"/>
                </a:cubicBezTo>
                <a:cubicBezTo>
                  <a:pt x="66104" y="976643"/>
                  <a:pt x="0" y="838313"/>
                  <a:pt x="0" y="677624"/>
                </a:cubicBezTo>
                <a:cubicBezTo>
                  <a:pt x="0" y="628072"/>
                  <a:pt x="6287" y="576435"/>
                  <a:pt x="19050" y="523283"/>
                </a:cubicBezTo>
                <a:cubicBezTo>
                  <a:pt x="82868" y="257994"/>
                  <a:pt x="289370" y="44152"/>
                  <a:pt x="521303" y="3032"/>
                </a:cubicBezTo>
                <a:cubicBezTo>
                  <a:pt x="553069" y="-687"/>
                  <a:pt x="584389" y="-971"/>
                  <a:pt x="615058" y="2108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49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0" name="Picture Placeholder 71">
            <a:extLst>
              <a:ext uri="{FF2B5EF4-FFF2-40B4-BE49-F238E27FC236}">
                <a16:creationId xmlns:a16="http://schemas.microsoft.com/office/drawing/2014/main" id="{D59DBC40-79B4-11A4-D6E6-9057D54002E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7114743" y="3381628"/>
            <a:ext cx="1903003" cy="1920581"/>
          </a:xfrm>
          <a:custGeom>
            <a:avLst/>
            <a:gdLst>
              <a:gd name="connsiteX0" fmla="*/ 646043 w 1154064"/>
              <a:gd name="connsiteY0" fmla="*/ 144 h 1164642"/>
              <a:gd name="connsiteX1" fmla="*/ 991404 w 1154064"/>
              <a:gd name="connsiteY1" fmla="*/ 96881 h 1164642"/>
              <a:gd name="connsiteX2" fmla="*/ 1153391 w 1154064"/>
              <a:gd name="connsiteY2" fmla="*/ 423368 h 1164642"/>
              <a:gd name="connsiteX3" fmla="*/ 1153486 w 1154064"/>
              <a:gd name="connsiteY3" fmla="*/ 423368 h 1164642"/>
              <a:gd name="connsiteX4" fmla="*/ 897337 w 1154064"/>
              <a:gd name="connsiteY4" fmla="*/ 1018112 h 1164642"/>
              <a:gd name="connsiteX5" fmla="*/ 414027 w 1154064"/>
              <a:gd name="connsiteY5" fmla="*/ 1133717 h 1164642"/>
              <a:gd name="connsiteX6" fmla="*/ 4985 w 1154064"/>
              <a:gd name="connsiteY6" fmla="*/ 620191 h 1164642"/>
              <a:gd name="connsiteX7" fmla="*/ 147932 w 1154064"/>
              <a:gd name="connsiteY7" fmla="*/ 207451 h 1164642"/>
              <a:gd name="connsiteX8" fmla="*/ 270417 w 1154064"/>
              <a:gd name="connsiteY8" fmla="*/ 111510 h 1164642"/>
              <a:gd name="connsiteX9" fmla="*/ 646043 w 1154064"/>
              <a:gd name="connsiteY9" fmla="*/ 144 h 11646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154064" h="1164642">
                <a:moveTo>
                  <a:pt x="646043" y="144"/>
                </a:moveTo>
                <a:cubicBezTo>
                  <a:pt x="773218" y="-2433"/>
                  <a:pt x="895348" y="29674"/>
                  <a:pt x="991404" y="96881"/>
                </a:cubicBezTo>
                <a:cubicBezTo>
                  <a:pt x="1091248" y="175914"/>
                  <a:pt x="1147234" y="288954"/>
                  <a:pt x="1153391" y="423368"/>
                </a:cubicBezTo>
                <a:lnTo>
                  <a:pt x="1153486" y="423368"/>
                </a:lnTo>
                <a:cubicBezTo>
                  <a:pt x="1162769" y="625036"/>
                  <a:pt x="1059609" y="864605"/>
                  <a:pt x="897337" y="1018112"/>
                </a:cubicBezTo>
                <a:cubicBezTo>
                  <a:pt x="755338" y="1155945"/>
                  <a:pt x="565594" y="1201351"/>
                  <a:pt x="414027" y="1133717"/>
                </a:cubicBezTo>
                <a:cubicBezTo>
                  <a:pt x="204675" y="1041100"/>
                  <a:pt x="36435" y="829838"/>
                  <a:pt x="4985" y="620191"/>
                </a:cubicBezTo>
                <a:cubicBezTo>
                  <a:pt x="-16992" y="466114"/>
                  <a:pt x="34257" y="321442"/>
                  <a:pt x="147932" y="207451"/>
                </a:cubicBezTo>
                <a:cubicBezTo>
                  <a:pt x="182982" y="172304"/>
                  <a:pt x="223905" y="140102"/>
                  <a:pt x="270417" y="111510"/>
                </a:cubicBezTo>
                <a:cubicBezTo>
                  <a:pt x="386650" y="39981"/>
                  <a:pt x="518869" y="2720"/>
                  <a:pt x="646043" y="144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49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1" name="Picture Placeholder 46">
            <a:extLst>
              <a:ext uri="{FF2B5EF4-FFF2-40B4-BE49-F238E27FC236}">
                <a16:creationId xmlns:a16="http://schemas.microsoft.com/office/drawing/2014/main" id="{F04AB762-4CF8-5C82-6AD3-6CED58E97DE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704085" y="3428429"/>
            <a:ext cx="1960710" cy="1826979"/>
          </a:xfrm>
          <a:custGeom>
            <a:avLst/>
            <a:gdLst>
              <a:gd name="connsiteX0" fmla="*/ 511437 w 1189060"/>
              <a:gd name="connsiteY0" fmla="*/ 0 h 1107882"/>
              <a:gd name="connsiteX1" fmla="*/ 665779 w 1189060"/>
              <a:gd name="connsiteY1" fmla="*/ 19050 h 1107882"/>
              <a:gd name="connsiteX2" fmla="*/ 1186029 w 1189060"/>
              <a:gd name="connsiteY2" fmla="*/ 521303 h 1107882"/>
              <a:gd name="connsiteX3" fmla="*/ 1070344 w 1189060"/>
              <a:gd name="connsiteY3" fmla="*/ 868013 h 1107882"/>
              <a:gd name="connsiteX4" fmla="*/ 469749 w 1189060"/>
              <a:gd name="connsiteY4" fmla="*/ 1107567 h 1107882"/>
              <a:gd name="connsiteX5" fmla="*/ 46424 w 1189060"/>
              <a:gd name="connsiteY5" fmla="*/ 845915 h 1107882"/>
              <a:gd name="connsiteX6" fmla="*/ 119284 w 1189060"/>
              <a:gd name="connsiteY6" fmla="*/ 190976 h 1107882"/>
              <a:gd name="connsiteX7" fmla="*/ 511437 w 1189060"/>
              <a:gd name="connsiteY7" fmla="*/ 0 h 1107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9060" h="1107882">
                <a:moveTo>
                  <a:pt x="511437" y="0"/>
                </a:moveTo>
                <a:cubicBezTo>
                  <a:pt x="560990" y="0"/>
                  <a:pt x="612626" y="6287"/>
                  <a:pt x="665779" y="19050"/>
                </a:cubicBezTo>
                <a:cubicBezTo>
                  <a:pt x="931068" y="82868"/>
                  <a:pt x="1144909" y="289370"/>
                  <a:pt x="1186029" y="521303"/>
                </a:cubicBezTo>
                <a:cubicBezTo>
                  <a:pt x="1200904" y="648367"/>
                  <a:pt x="1160827" y="768287"/>
                  <a:pt x="1070344" y="868013"/>
                </a:cubicBezTo>
                <a:cubicBezTo>
                  <a:pt x="934668" y="1017556"/>
                  <a:pt x="692781" y="1114139"/>
                  <a:pt x="469749" y="1107567"/>
                </a:cubicBezTo>
                <a:cubicBezTo>
                  <a:pt x="272109" y="1104329"/>
                  <a:pt x="105924" y="1001649"/>
                  <a:pt x="46424" y="845915"/>
                </a:cubicBezTo>
                <a:cubicBezTo>
                  <a:pt x="-36289" y="631412"/>
                  <a:pt x="-6350" y="362045"/>
                  <a:pt x="119284" y="190976"/>
                </a:cubicBezTo>
                <a:cubicBezTo>
                  <a:pt x="212419" y="66104"/>
                  <a:pt x="350748" y="0"/>
                  <a:pt x="511437" y="0"/>
                </a:cubicBez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649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57982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F3918CB-A61A-8A43-05DE-7D51ECBE796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0994303E-A424-9540-91A8-53B791C91E8F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B2461144-37F7-1B8E-8C8F-A142D78749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GB"/>
              <a:t>Regular heading goes here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54B0AF49-A51C-151B-05A9-7178FFC369D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1661" y="1734262"/>
            <a:ext cx="17906086" cy="67803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3298">
                <a:solidFill>
                  <a:schemeClr val="accent2"/>
                </a:solidFill>
              </a:defRPr>
            </a:lvl1pPr>
            <a:lvl2pPr marL="753923" indent="0">
              <a:buNone/>
              <a:defRPr/>
            </a:lvl2pPr>
            <a:lvl3pPr marL="1507846" indent="0">
              <a:buNone/>
              <a:defRPr/>
            </a:lvl3pPr>
            <a:lvl4pPr marL="2261768" indent="0">
              <a:buNone/>
              <a:defRPr/>
            </a:lvl4pPr>
            <a:lvl5pPr marL="3015691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en-GB"/>
              <a:t>Sub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22496145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590B6ED0-CFCF-40AD-AABB-96D1873F194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0058400" y="-28574"/>
            <a:ext cx="10044112" cy="11344275"/>
          </a:xfrm>
          <a:custGeom>
            <a:avLst/>
            <a:gdLst>
              <a:gd name="connsiteX0" fmla="*/ 1457325 w 10044112"/>
              <a:gd name="connsiteY0" fmla="*/ 0 h 11344275"/>
              <a:gd name="connsiteX1" fmla="*/ 10044112 w 10044112"/>
              <a:gd name="connsiteY1" fmla="*/ 0 h 11344275"/>
              <a:gd name="connsiteX2" fmla="*/ 10044112 w 10044112"/>
              <a:gd name="connsiteY2" fmla="*/ 11344275 h 11344275"/>
              <a:gd name="connsiteX3" fmla="*/ 0 w 10044112"/>
              <a:gd name="connsiteY3" fmla="*/ 11344275 h 11344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44112" h="11344275">
                <a:moveTo>
                  <a:pt x="1457325" y="0"/>
                </a:moveTo>
                <a:lnTo>
                  <a:pt x="10044112" y="0"/>
                </a:lnTo>
                <a:lnTo>
                  <a:pt x="10044112" y="11344275"/>
                </a:lnTo>
                <a:lnTo>
                  <a:pt x="0" y="11344275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GB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A29740D6-805F-46A7-AC4F-2353B24DDD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36410" y="3902075"/>
            <a:ext cx="7543800" cy="430887"/>
          </a:xfrm>
        </p:spPr>
        <p:txBody>
          <a:bodyPr/>
          <a:lstStyle>
            <a:lvl1pPr>
              <a:defRPr sz="2800">
                <a:solidFill>
                  <a:srgbClr val="333333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lvl="0"/>
            <a:r>
              <a:rPr lang="en-GB"/>
              <a:t>The text goes here.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692680FA-F464-404F-BE66-FF70571100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36410" y="2328635"/>
            <a:ext cx="7543800" cy="615553"/>
          </a:xfrm>
        </p:spPr>
        <p:txBody>
          <a:bodyPr/>
          <a:lstStyle>
            <a:lvl1pPr>
              <a:defRPr sz="4000" b="1">
                <a:solidFill>
                  <a:srgbClr val="449BCC"/>
                </a:solidFill>
                <a:latin typeface="Comfortaa" pitchFamily="2" charset="0"/>
              </a:defRPr>
            </a:lvl1pPr>
          </a:lstStyle>
          <a:p>
            <a:pPr lvl="0"/>
            <a:r>
              <a:rPr lang="en-GB"/>
              <a:t>Enter Title Here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59D839CC-AA21-4946-83F4-94631E8EA694}"/>
              </a:ext>
            </a:extLst>
          </p:cNvPr>
          <p:cNvSpPr/>
          <p:nvPr userDrawn="1"/>
        </p:nvSpPr>
        <p:spPr>
          <a:xfrm rot="16640235">
            <a:off x="5721214" y="6562171"/>
            <a:ext cx="9312327" cy="296097"/>
          </a:xfrm>
          <a:custGeom>
            <a:avLst/>
            <a:gdLst>
              <a:gd name="connsiteX0" fmla="*/ 9312327 w 9312327"/>
              <a:gd name="connsiteY0" fmla="*/ 0 h 296097"/>
              <a:gd name="connsiteX1" fmla="*/ 9312327 w 9312327"/>
              <a:gd name="connsiteY1" fmla="*/ 296097 h 296097"/>
              <a:gd name="connsiteX2" fmla="*/ 38126 w 9312327"/>
              <a:gd name="connsiteY2" fmla="*/ 296097 h 296097"/>
              <a:gd name="connsiteX3" fmla="*/ 0 w 9312327"/>
              <a:gd name="connsiteY3" fmla="*/ 0 h 296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312327" h="296097">
                <a:moveTo>
                  <a:pt x="9312327" y="0"/>
                </a:moveTo>
                <a:lnTo>
                  <a:pt x="9312327" y="296097"/>
                </a:lnTo>
                <a:lnTo>
                  <a:pt x="38126" y="296097"/>
                </a:lnTo>
                <a:lnTo>
                  <a:pt x="0" y="0"/>
                </a:lnTo>
                <a:close/>
              </a:path>
            </a:pathLst>
          </a:custGeom>
          <a:gradFill flip="none" rotWithShape="1">
            <a:gsLst>
              <a:gs pos="49000">
                <a:srgbClr val="399C94"/>
              </a:gs>
              <a:gs pos="0">
                <a:srgbClr val="2E9C75"/>
              </a:gs>
              <a:gs pos="100000">
                <a:srgbClr val="3F9BC9"/>
              </a:gs>
            </a:gsLst>
            <a:lin ang="7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85367362-1672-498C-96BD-E4EA11D6BD3E}"/>
              </a:ext>
            </a:extLst>
          </p:cNvPr>
          <p:cNvSpPr>
            <a:spLocks noChangeAspect="1"/>
          </p:cNvSpPr>
          <p:nvPr userDrawn="1"/>
        </p:nvSpPr>
        <p:spPr>
          <a:xfrm rot="16640235">
            <a:off x="6317223" y="7718284"/>
            <a:ext cx="6981012" cy="296097"/>
          </a:xfrm>
          <a:custGeom>
            <a:avLst/>
            <a:gdLst>
              <a:gd name="connsiteX0" fmla="*/ 6981012 w 6981012"/>
              <a:gd name="connsiteY0" fmla="*/ 0 h 296097"/>
              <a:gd name="connsiteX1" fmla="*/ 6981012 w 6981012"/>
              <a:gd name="connsiteY1" fmla="*/ 296097 h 296097"/>
              <a:gd name="connsiteX2" fmla="*/ 38126 w 6981012"/>
              <a:gd name="connsiteY2" fmla="*/ 296097 h 296097"/>
              <a:gd name="connsiteX3" fmla="*/ 0 w 6981012"/>
              <a:gd name="connsiteY3" fmla="*/ 1 h 2960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81012" h="296097">
                <a:moveTo>
                  <a:pt x="6981012" y="0"/>
                </a:moveTo>
                <a:lnTo>
                  <a:pt x="6981012" y="296097"/>
                </a:lnTo>
                <a:lnTo>
                  <a:pt x="38126" y="296097"/>
                </a:lnTo>
                <a:lnTo>
                  <a:pt x="0" y="1"/>
                </a:lnTo>
                <a:close/>
              </a:path>
            </a:pathLst>
          </a:custGeom>
          <a:gradFill flip="none" rotWithShape="1">
            <a:gsLst>
              <a:gs pos="54000">
                <a:srgbClr val="399C94"/>
              </a:gs>
              <a:gs pos="0">
                <a:srgbClr val="2E9C75"/>
              </a:gs>
              <a:gs pos="100000">
                <a:srgbClr val="3F9BC9"/>
              </a:gs>
            </a:gsLst>
            <a:lin ang="72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032812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Slide (Green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720F34-EE38-1EB6-D2BC-389D6E7C2435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0994303E-A424-9540-91A8-53B791C91E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9097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pter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raphic 48">
            <a:extLst>
              <a:ext uri="{FF2B5EF4-FFF2-40B4-BE49-F238E27FC236}">
                <a16:creationId xmlns:a16="http://schemas.microsoft.com/office/drawing/2014/main" id="{75DAC041-23E1-D93E-FCC2-75B842262D09}"/>
              </a:ext>
            </a:extLst>
          </p:cNvPr>
          <p:cNvSpPr/>
          <p:nvPr userDrawn="1"/>
        </p:nvSpPr>
        <p:spPr>
          <a:xfrm>
            <a:off x="1112664" y="1323697"/>
            <a:ext cx="8405371" cy="7832079"/>
          </a:xfrm>
          <a:custGeom>
            <a:avLst/>
            <a:gdLst>
              <a:gd name="connsiteX0" fmla="*/ 1070344 w 1189060"/>
              <a:gd name="connsiteY0" fmla="*/ 868013 h 1107882"/>
              <a:gd name="connsiteX1" fmla="*/ 469749 w 1189060"/>
              <a:gd name="connsiteY1" fmla="*/ 1107567 h 1107882"/>
              <a:gd name="connsiteX2" fmla="*/ 46424 w 1189060"/>
              <a:gd name="connsiteY2" fmla="*/ 845915 h 1107882"/>
              <a:gd name="connsiteX3" fmla="*/ 119284 w 1189060"/>
              <a:gd name="connsiteY3" fmla="*/ 190976 h 1107882"/>
              <a:gd name="connsiteX4" fmla="*/ 511437 w 1189060"/>
              <a:gd name="connsiteY4" fmla="*/ 0 h 1107882"/>
              <a:gd name="connsiteX5" fmla="*/ 665779 w 1189060"/>
              <a:gd name="connsiteY5" fmla="*/ 19050 h 1107882"/>
              <a:gd name="connsiteX6" fmla="*/ 1186029 w 1189060"/>
              <a:gd name="connsiteY6" fmla="*/ 521303 h 1107882"/>
              <a:gd name="connsiteX7" fmla="*/ 1070344 w 1189060"/>
              <a:gd name="connsiteY7" fmla="*/ 868013 h 110788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189060" h="1107882">
                <a:moveTo>
                  <a:pt x="1070344" y="868013"/>
                </a:moveTo>
                <a:cubicBezTo>
                  <a:pt x="934668" y="1017556"/>
                  <a:pt x="692781" y="1114139"/>
                  <a:pt x="469749" y="1107567"/>
                </a:cubicBezTo>
                <a:cubicBezTo>
                  <a:pt x="272109" y="1104329"/>
                  <a:pt x="105924" y="1001649"/>
                  <a:pt x="46424" y="845915"/>
                </a:cubicBezTo>
                <a:cubicBezTo>
                  <a:pt x="-36289" y="631412"/>
                  <a:pt x="-6350" y="362045"/>
                  <a:pt x="119284" y="190976"/>
                </a:cubicBezTo>
                <a:cubicBezTo>
                  <a:pt x="212419" y="66104"/>
                  <a:pt x="350748" y="0"/>
                  <a:pt x="511437" y="0"/>
                </a:cubicBezTo>
                <a:cubicBezTo>
                  <a:pt x="560990" y="0"/>
                  <a:pt x="612626" y="6287"/>
                  <a:pt x="665779" y="19050"/>
                </a:cubicBezTo>
                <a:cubicBezTo>
                  <a:pt x="931068" y="82868"/>
                  <a:pt x="1144909" y="289370"/>
                  <a:pt x="1186029" y="521303"/>
                </a:cubicBezTo>
                <a:cubicBezTo>
                  <a:pt x="1200904" y="648367"/>
                  <a:pt x="1160827" y="768287"/>
                  <a:pt x="1070344" y="868013"/>
                </a:cubicBezTo>
              </a:path>
            </a:pathLst>
          </a:custGeom>
          <a:solidFill>
            <a:schemeClr val="accent2"/>
          </a:solidFill>
          <a:ln w="9449" cap="flat">
            <a:noFill/>
            <a:prstDash val="solid"/>
            <a:miter/>
          </a:ln>
        </p:spPr>
        <p:txBody>
          <a:bodyPr rtlCol="0" anchor="ctr"/>
          <a:lstStyle/>
          <a:p>
            <a:endParaRPr lang="en-GB" sz="2968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1ABC006-C4FF-A1F4-36AF-0C94003C2F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586064" y="905796"/>
            <a:ext cx="8431683" cy="866788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lnSpc>
                <a:spcPct val="90000"/>
              </a:lnSpc>
              <a:defRPr sz="10719" b="1">
                <a:solidFill>
                  <a:schemeClr val="accent2"/>
                </a:solidFill>
              </a:defRPr>
            </a:lvl1pPr>
          </a:lstStyle>
          <a:p>
            <a:r>
              <a:rPr lang="en-GB"/>
              <a:t>Chapter Slide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9D378FF-8076-D182-237A-7F57163EC86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12664" y="3101416"/>
            <a:ext cx="8405371" cy="427664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41225"/>
            </a:lvl1pPr>
          </a:lstStyle>
          <a:p>
            <a:pPr lvl="0"/>
            <a:r>
              <a:rPr lang="en-GB"/>
              <a:t>01</a:t>
            </a:r>
          </a:p>
        </p:txBody>
      </p:sp>
    </p:spTree>
    <p:extLst>
      <p:ext uri="{BB962C8B-B14F-4D97-AF65-F5344CB8AC3E}">
        <p14:creationId xmlns:p14="http://schemas.microsoft.com/office/powerpoint/2010/main" val="159234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5" presetClass="entr" presetSubtype="0" fill="hold" grpId="0" nodeType="withEffect">
                                  <p:stCondLst>
                                    <p:cond delay="750"/>
                                  </p:stCondLst>
                                  <p:iterate type="lt">
                                    <p:tmPct val="25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4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400" fill="hold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4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55" presetClass="entr" presetSubtype="0" fill="hold" grpId="0" nodeType="withEffect">
                                  <p:stCondLst>
                                    <p:cond delay="1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4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4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4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2" grpId="0"/>
      <p:bldP spid="4" grpId="0" build="p">
        <p:tmplLst>
          <p:tmpl lvl="1">
            <p:tnLst>
              <p:par>
                <p:cTn presetID="55" presetClass="entr" presetSubtype="0" fill="hold" nodeType="withEffect">
                  <p:stCondLst>
                    <p:cond delay="750"/>
                  </p:stCondLst>
                  <p:iterate type="lt">
                    <p:tmPct val="25000"/>
                  </p:iterate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>
                        <p:cTn dur="400" fill="hold"/>
                        <p:tgtEl>
                          <p:spTgt spid="4"/>
                        </p:tgtEl>
                        <p:attrNameLst>
                          <p:attrName>ppt_w</p:attrName>
                        </p:attrNameLst>
                      </p:cBhvr>
                      <p:tavLst>
                        <p:tav tm="0">
                          <p:val>
                            <p:strVal val="#ppt_w*0.70"/>
                          </p:val>
                        </p:tav>
                        <p:tav tm="100000">
                          <p:val>
                            <p:strVal val="#ppt_w"/>
                          </p:val>
                        </p:tav>
                      </p:tavLst>
                    </p:anim>
                    <p:anim calcmode="lin" valueType="num">
                      <p:cBhvr>
                        <p:cTn dur="400" fill="hold"/>
                        <p:tgtEl>
                          <p:spTgt spid="4"/>
                        </p:tgtEl>
                        <p:attrNameLst>
                          <p:attrName>ppt_h</p:attrName>
                        </p:attrNameLst>
                      </p:cBhvr>
                      <p:tavLst>
                        <p:tav tm="0">
                          <p:val>
                            <p:strVal val="#ppt_h"/>
                          </p:val>
                        </p:tav>
                        <p:tav tm="100000">
                          <p:val>
                            <p:strVal val="#ppt_h"/>
                          </p:val>
                        </p:tav>
                      </p:tavLst>
                    </p:anim>
                    <p:animEffect transition="in" filter="fade">
                      <p:cBhvr>
                        <p:cTn dur="4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" name="Object 50" hidden="1">
            <a:extLst>
              <a:ext uri="{FF2B5EF4-FFF2-40B4-BE49-F238E27FC236}">
                <a16:creationId xmlns:a16="http://schemas.microsoft.com/office/drawing/2014/main" id="{6868815C-BBCD-8F0E-68F3-59774FD956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2037063"/>
              </p:ext>
            </p:extLst>
          </p:nvPr>
        </p:nvGraphicFramePr>
        <p:xfrm>
          <a:off x="2618" y="2619"/>
          <a:ext cx="2619" cy="2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51" name="Object 50" hidden="1">
                        <a:extLst>
                          <a:ext uri="{FF2B5EF4-FFF2-40B4-BE49-F238E27FC236}">
                            <a16:creationId xmlns:a16="http://schemas.microsoft.com/office/drawing/2014/main" id="{6868815C-BBCD-8F0E-68F3-59774FD956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618" y="2619"/>
                        <a:ext cx="2619" cy="2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C725042C-B958-997F-66D1-C2F1AD4B4C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086356" y="1963706"/>
            <a:ext cx="17931391" cy="7859273"/>
          </a:xfrm>
        </p:spPr>
        <p:txBody>
          <a:bodyPr>
            <a:noAutofit/>
          </a:bodyPr>
          <a:lstStyle>
            <a:lvl1pPr marL="356184" indent="-296820">
              <a:buClr>
                <a:schemeClr val="accent2"/>
              </a:buClr>
              <a:buFont typeface="Arial" panose="020B0604020202020204" pitchFamily="34" charset="0"/>
              <a:buChar char="•"/>
              <a:defRPr sz="2309" b="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9" name="Text Placeholder 48">
            <a:extLst>
              <a:ext uri="{FF2B5EF4-FFF2-40B4-BE49-F238E27FC236}">
                <a16:creationId xmlns:a16="http://schemas.microsoft.com/office/drawing/2014/main" id="{9380B548-17E0-9C5B-CE0B-A41A56016AA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6356" y="9966590"/>
            <a:ext cx="17931391" cy="480227"/>
          </a:xfrm>
        </p:spPr>
        <p:txBody>
          <a:bodyPr anchor="b">
            <a:normAutofit/>
          </a:bodyPr>
          <a:lstStyle>
            <a:lvl1pPr marL="59364" indent="0">
              <a:spcAft>
                <a:spcPts val="0"/>
              </a:spcAft>
              <a:buNone/>
              <a:defRPr sz="1649" i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ources and footnotes</a:t>
            </a:r>
          </a:p>
        </p:txBody>
      </p:sp>
      <p:sp>
        <p:nvSpPr>
          <p:cNvPr id="31" name="Graphic 2">
            <a:extLst>
              <a:ext uri="{FF2B5EF4-FFF2-40B4-BE49-F238E27FC236}">
                <a16:creationId xmlns:a16="http://schemas.microsoft.com/office/drawing/2014/main" id="{33B38EB3-F919-6202-9B4A-C5EAA1171040}"/>
              </a:ext>
            </a:extLst>
          </p:cNvPr>
          <p:cNvSpPr>
            <a:spLocks noChangeAspect="1"/>
          </p:cNvSpPr>
          <p:nvPr userDrawn="1"/>
        </p:nvSpPr>
        <p:spPr>
          <a:xfrm>
            <a:off x="19105677" y="266575"/>
            <a:ext cx="507840" cy="508962"/>
          </a:xfrm>
          <a:custGeom>
            <a:avLst/>
            <a:gdLst>
              <a:gd name="connsiteX0" fmla="*/ 1633956 w 7877814"/>
              <a:gd name="connsiteY0" fmla="*/ 6842469 h 7894663"/>
              <a:gd name="connsiteX1" fmla="*/ 1685582 w 7877814"/>
              <a:gd name="connsiteY1" fmla="*/ 7013474 h 7894663"/>
              <a:gd name="connsiteX2" fmla="*/ 1462760 w 7877814"/>
              <a:gd name="connsiteY2" fmla="*/ 7017093 h 7894663"/>
              <a:gd name="connsiteX3" fmla="*/ 1336586 w 7877814"/>
              <a:gd name="connsiteY3" fmla="*/ 6786652 h 7894663"/>
              <a:gd name="connsiteX4" fmla="*/ 1633956 w 7877814"/>
              <a:gd name="connsiteY4" fmla="*/ 6842469 h 7894663"/>
              <a:gd name="connsiteX5" fmla="*/ 5700814 w 7877814"/>
              <a:gd name="connsiteY5" fmla="*/ 3781768 h 7894663"/>
              <a:gd name="connsiteX6" fmla="*/ 5549430 w 7877814"/>
              <a:gd name="connsiteY6" fmla="*/ 4357015 h 7894663"/>
              <a:gd name="connsiteX7" fmla="*/ 4782604 w 7877814"/>
              <a:gd name="connsiteY7" fmla="*/ 4800880 h 7894663"/>
              <a:gd name="connsiteX8" fmla="*/ 4590135 w 7877814"/>
              <a:gd name="connsiteY8" fmla="*/ 4821009 h 7894663"/>
              <a:gd name="connsiteX9" fmla="*/ 3790480 w 7877814"/>
              <a:gd name="connsiteY9" fmla="*/ 4330916 h 7894663"/>
              <a:gd name="connsiteX10" fmla="*/ 4238663 w 7877814"/>
              <a:gd name="connsiteY10" fmla="*/ 2991193 h 7894663"/>
              <a:gd name="connsiteX11" fmla="*/ 5140172 w 7877814"/>
              <a:gd name="connsiteY11" fmla="*/ 3049042 h 7894663"/>
              <a:gd name="connsiteX12" fmla="*/ 5700687 w 7877814"/>
              <a:gd name="connsiteY12" fmla="*/ 3780752 h 7894663"/>
              <a:gd name="connsiteX13" fmla="*/ 5700814 w 7877814"/>
              <a:gd name="connsiteY13" fmla="*/ 3781768 h 7894663"/>
              <a:gd name="connsiteX14" fmla="*/ 5426684 w 7877814"/>
              <a:gd name="connsiteY14" fmla="*/ 3824948 h 7894663"/>
              <a:gd name="connsiteX15" fmla="*/ 4826482 w 7877814"/>
              <a:gd name="connsiteY15" fmla="*/ 3248686 h 7894663"/>
              <a:gd name="connsiteX16" fmla="*/ 4648365 w 7877814"/>
              <a:gd name="connsiteY16" fmla="*/ 3226842 h 7894663"/>
              <a:gd name="connsiteX17" fmla="*/ 4195991 w 7877814"/>
              <a:gd name="connsiteY17" fmla="*/ 3445980 h 7894663"/>
              <a:gd name="connsiteX18" fmla="*/ 4111980 w 7877814"/>
              <a:gd name="connsiteY18" fmla="*/ 4197566 h 7894663"/>
              <a:gd name="connsiteX19" fmla="*/ 4600296 w 7877814"/>
              <a:gd name="connsiteY19" fmla="*/ 4497858 h 7894663"/>
              <a:gd name="connsiteX20" fmla="*/ 5293207 w 7877814"/>
              <a:gd name="connsiteY20" fmla="*/ 4222966 h 7894663"/>
              <a:gd name="connsiteX21" fmla="*/ 5426684 w 7877814"/>
              <a:gd name="connsiteY21" fmla="*/ 3824948 h 7894663"/>
              <a:gd name="connsiteX22" fmla="*/ 5997486 w 7877814"/>
              <a:gd name="connsiteY22" fmla="*/ 3368320 h 7894663"/>
              <a:gd name="connsiteX23" fmla="*/ 5628932 w 7877814"/>
              <a:gd name="connsiteY23" fmla="*/ 5247158 h 7894663"/>
              <a:gd name="connsiteX24" fmla="*/ 4546892 w 7877814"/>
              <a:gd name="connsiteY24" fmla="*/ 5672481 h 7894663"/>
              <a:gd name="connsiteX25" fmla="*/ 4177703 w 7877814"/>
              <a:gd name="connsiteY25" fmla="*/ 5633175 h 7894663"/>
              <a:gd name="connsiteX26" fmla="*/ 2810611 w 7877814"/>
              <a:gd name="connsiteY26" fmla="*/ 4524465 h 7894663"/>
              <a:gd name="connsiteX27" fmla="*/ 2818231 w 7877814"/>
              <a:gd name="connsiteY27" fmla="*/ 3185186 h 7894663"/>
              <a:gd name="connsiteX28" fmla="*/ 3821912 w 7877814"/>
              <a:gd name="connsiteY28" fmla="*/ 2240369 h 7894663"/>
              <a:gd name="connsiteX29" fmla="*/ 5061305 w 7877814"/>
              <a:gd name="connsiteY29" fmla="*/ 2298472 h 7894663"/>
              <a:gd name="connsiteX30" fmla="*/ 5997486 w 7877814"/>
              <a:gd name="connsiteY30" fmla="*/ 3368320 h 7894663"/>
              <a:gd name="connsiteX31" fmla="*/ 5912777 w 7877814"/>
              <a:gd name="connsiteY31" fmla="*/ 3399498 h 7894663"/>
              <a:gd name="connsiteX32" fmla="*/ 5912523 w 7877814"/>
              <a:gd name="connsiteY32" fmla="*/ 3398736 h 7894663"/>
              <a:gd name="connsiteX33" fmla="*/ 4501108 w 7877814"/>
              <a:gd name="connsiteY33" fmla="*/ 2482050 h 7894663"/>
              <a:gd name="connsiteX34" fmla="*/ 4494314 w 7877814"/>
              <a:gd name="connsiteY34" fmla="*/ 2481987 h 7894663"/>
              <a:gd name="connsiteX35" fmla="*/ 3261207 w 7877814"/>
              <a:gd name="connsiteY35" fmla="*/ 3086951 h 7894663"/>
              <a:gd name="connsiteX36" fmla="*/ 3013240 w 7877814"/>
              <a:gd name="connsiteY36" fmla="*/ 4451821 h 7894663"/>
              <a:gd name="connsiteX37" fmla="*/ 3741966 w 7877814"/>
              <a:gd name="connsiteY37" fmla="*/ 5315294 h 7894663"/>
              <a:gd name="connsiteX38" fmla="*/ 4931575 w 7877814"/>
              <a:gd name="connsiteY38" fmla="*/ 5321072 h 7894663"/>
              <a:gd name="connsiteX39" fmla="*/ 5912777 w 7877814"/>
              <a:gd name="connsiteY39" fmla="*/ 3399498 h 7894663"/>
              <a:gd name="connsiteX40" fmla="*/ 4262602 w 7877814"/>
              <a:gd name="connsiteY40" fmla="*/ 6675146 h 7894663"/>
              <a:gd name="connsiteX41" fmla="*/ 3281464 w 7877814"/>
              <a:gd name="connsiteY41" fmla="*/ 6477216 h 7894663"/>
              <a:gd name="connsiteX42" fmla="*/ 1713458 w 7877814"/>
              <a:gd name="connsiteY42" fmla="*/ 2859304 h 7894663"/>
              <a:gd name="connsiteX43" fmla="*/ 3898938 w 7877814"/>
              <a:gd name="connsiteY43" fmla="*/ 1053046 h 7894663"/>
              <a:gd name="connsiteX44" fmla="*/ 6510439 w 7877814"/>
              <a:gd name="connsiteY44" fmla="*/ 2126768 h 7894663"/>
              <a:gd name="connsiteX45" fmla="*/ 6815112 w 7877814"/>
              <a:gd name="connsiteY45" fmla="*/ 4833265 h 7894663"/>
              <a:gd name="connsiteX46" fmla="*/ 5273141 w 7877814"/>
              <a:gd name="connsiteY46" fmla="*/ 6465025 h 7894663"/>
              <a:gd name="connsiteX47" fmla="*/ 4262602 w 7877814"/>
              <a:gd name="connsiteY47" fmla="*/ 6675146 h 7894663"/>
              <a:gd name="connsiteX48" fmla="*/ 6733705 w 7877814"/>
              <a:gd name="connsiteY48" fmla="*/ 4801388 h 7894663"/>
              <a:gd name="connsiteX49" fmla="*/ 6350737 w 7877814"/>
              <a:gd name="connsiteY49" fmla="*/ 2408771 h 7894663"/>
              <a:gd name="connsiteX50" fmla="*/ 4279874 w 7877814"/>
              <a:gd name="connsiteY50" fmla="*/ 1368959 h 7894663"/>
              <a:gd name="connsiteX51" fmla="*/ 3964025 w 7877814"/>
              <a:gd name="connsiteY51" fmla="*/ 1388136 h 7894663"/>
              <a:gd name="connsiteX52" fmla="*/ 1909165 w 7877814"/>
              <a:gd name="connsiteY52" fmla="*/ 2935631 h 7894663"/>
              <a:gd name="connsiteX53" fmla="*/ 2529052 w 7877814"/>
              <a:gd name="connsiteY53" fmla="*/ 5708422 h 7894663"/>
              <a:gd name="connsiteX54" fmla="*/ 5001679 w 7877814"/>
              <a:gd name="connsiteY54" fmla="*/ 6283859 h 7894663"/>
              <a:gd name="connsiteX55" fmla="*/ 6733578 w 7877814"/>
              <a:gd name="connsiteY55" fmla="*/ 4801833 h 7894663"/>
              <a:gd name="connsiteX56" fmla="*/ 6733705 w 7877814"/>
              <a:gd name="connsiteY56" fmla="*/ 4801388 h 7894663"/>
              <a:gd name="connsiteX57" fmla="*/ 294043 w 7877814"/>
              <a:gd name="connsiteY57" fmla="*/ 3817773 h 7894663"/>
              <a:gd name="connsiteX58" fmla="*/ 1613700 w 7877814"/>
              <a:gd name="connsiteY58" fmla="*/ 1293521 h 7894663"/>
              <a:gd name="connsiteX59" fmla="*/ 4274286 w 7877814"/>
              <a:gd name="connsiteY59" fmla="*/ 297587 h 7894663"/>
              <a:gd name="connsiteX60" fmla="*/ 6802475 w 7877814"/>
              <a:gd name="connsiteY60" fmla="*/ 1475829 h 7894663"/>
              <a:gd name="connsiteX61" fmla="*/ 6848513 w 7877814"/>
              <a:gd name="connsiteY61" fmla="*/ 1500531 h 7894663"/>
              <a:gd name="connsiteX62" fmla="*/ 6901154 w 7877814"/>
              <a:gd name="connsiteY62" fmla="*/ 1482751 h 7894663"/>
              <a:gd name="connsiteX63" fmla="*/ 6922046 w 7877814"/>
              <a:gd name="connsiteY63" fmla="*/ 1431887 h 7894663"/>
              <a:gd name="connsiteX64" fmla="*/ 6902869 w 7877814"/>
              <a:gd name="connsiteY64" fmla="*/ 1386358 h 7894663"/>
              <a:gd name="connsiteX65" fmla="*/ 3796639 w 7877814"/>
              <a:gd name="connsiteY65" fmla="*/ 1296 h 7894663"/>
              <a:gd name="connsiteX66" fmla="*/ 802551 w 7877814"/>
              <a:gd name="connsiteY66" fmla="*/ 1540091 h 7894663"/>
              <a:gd name="connsiteX67" fmla="*/ 996416 w 7877814"/>
              <a:gd name="connsiteY67" fmla="*/ 6555258 h 7894663"/>
              <a:gd name="connsiteX68" fmla="*/ 1025880 w 7877814"/>
              <a:gd name="connsiteY68" fmla="*/ 6587770 h 7894663"/>
              <a:gd name="connsiteX69" fmla="*/ 1040930 w 7877814"/>
              <a:gd name="connsiteY69" fmla="*/ 6604216 h 7894663"/>
              <a:gd name="connsiteX70" fmla="*/ 1048677 w 7877814"/>
              <a:gd name="connsiteY70" fmla="*/ 6608725 h 7894663"/>
              <a:gd name="connsiteX71" fmla="*/ 1093190 w 7877814"/>
              <a:gd name="connsiteY71" fmla="*/ 6620600 h 7894663"/>
              <a:gd name="connsiteX72" fmla="*/ 1117130 w 7877814"/>
              <a:gd name="connsiteY72" fmla="*/ 6617234 h 7894663"/>
              <a:gd name="connsiteX73" fmla="*/ 1167358 w 7877814"/>
              <a:gd name="connsiteY73" fmla="*/ 6577229 h 7894663"/>
              <a:gd name="connsiteX74" fmla="*/ 1155420 w 7877814"/>
              <a:gd name="connsiteY74" fmla="*/ 6482233 h 7894663"/>
              <a:gd name="connsiteX75" fmla="*/ 294043 w 7877814"/>
              <a:gd name="connsiteY75" fmla="*/ 3817773 h 7894663"/>
              <a:gd name="connsiteX76" fmla="*/ 7870673 w 7877814"/>
              <a:gd name="connsiteY76" fmla="*/ 3766973 h 7894663"/>
              <a:gd name="connsiteX77" fmla="*/ 7868132 w 7877814"/>
              <a:gd name="connsiteY77" fmla="*/ 3753257 h 7894663"/>
              <a:gd name="connsiteX78" fmla="*/ 7787234 w 7877814"/>
              <a:gd name="connsiteY78" fmla="*/ 3692487 h 7894663"/>
              <a:gd name="connsiteX79" fmla="*/ 7727798 w 7877814"/>
              <a:gd name="connsiteY79" fmla="*/ 3723666 h 7894663"/>
              <a:gd name="connsiteX80" fmla="*/ 7709891 w 7877814"/>
              <a:gd name="connsiteY80" fmla="*/ 3790595 h 7894663"/>
              <a:gd name="connsiteX81" fmla="*/ 7215162 w 7877814"/>
              <a:gd name="connsiteY81" fmla="*/ 5777129 h 7894663"/>
              <a:gd name="connsiteX82" fmla="*/ 4171670 w 7877814"/>
              <a:gd name="connsiteY82" fmla="*/ 7712228 h 7894663"/>
              <a:gd name="connsiteX83" fmla="*/ 4090454 w 7877814"/>
              <a:gd name="connsiteY83" fmla="*/ 7812939 h 7894663"/>
              <a:gd name="connsiteX84" fmla="*/ 4166336 w 7877814"/>
              <a:gd name="connsiteY84" fmla="*/ 7893457 h 7894663"/>
              <a:gd name="connsiteX85" fmla="*/ 4172877 w 7877814"/>
              <a:gd name="connsiteY85" fmla="*/ 7894664 h 7894663"/>
              <a:gd name="connsiteX86" fmla="*/ 4179481 w 7877814"/>
              <a:gd name="connsiteY86" fmla="*/ 7894346 h 7894663"/>
              <a:gd name="connsiteX87" fmla="*/ 4463643 w 7877814"/>
              <a:gd name="connsiteY87" fmla="*/ 7870406 h 7894663"/>
              <a:gd name="connsiteX88" fmla="*/ 7021614 w 7877814"/>
              <a:gd name="connsiteY88" fmla="*/ 6456515 h 7894663"/>
              <a:gd name="connsiteX89" fmla="*/ 7870673 w 7877814"/>
              <a:gd name="connsiteY89" fmla="*/ 3766973 h 7894663"/>
              <a:gd name="connsiteX90" fmla="*/ 7857592 w 7877814"/>
              <a:gd name="connsiteY90" fmla="*/ 3279293 h 7894663"/>
              <a:gd name="connsiteX91" fmla="*/ 7673378 w 7877814"/>
              <a:gd name="connsiteY91" fmla="*/ 2437219 h 7894663"/>
              <a:gd name="connsiteX92" fmla="*/ 7491578 w 7877814"/>
              <a:gd name="connsiteY92" fmla="*/ 2365401 h 7894663"/>
              <a:gd name="connsiteX93" fmla="*/ 7486180 w 7877814"/>
              <a:gd name="connsiteY93" fmla="*/ 2613432 h 7894663"/>
              <a:gd name="connsiteX94" fmla="*/ 7691920 w 7877814"/>
              <a:gd name="connsiteY94" fmla="*/ 3261005 h 7894663"/>
              <a:gd name="connsiteX95" fmla="*/ 7782535 w 7877814"/>
              <a:gd name="connsiteY95" fmla="*/ 3360319 h 7894663"/>
              <a:gd name="connsiteX96" fmla="*/ 7857592 w 7877814"/>
              <a:gd name="connsiteY96" fmla="*/ 3279293 h 78946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</a:cxnLst>
            <a:rect l="l" t="t" r="r" b="b"/>
            <a:pathLst>
              <a:path w="7877814" h="7894663">
                <a:moveTo>
                  <a:pt x="1633956" y="6842469"/>
                </a:moveTo>
                <a:cubicBezTo>
                  <a:pt x="1690535" y="6875615"/>
                  <a:pt x="1731746" y="6932829"/>
                  <a:pt x="1685582" y="7013474"/>
                </a:cubicBezTo>
                <a:cubicBezTo>
                  <a:pt x="1639417" y="7094119"/>
                  <a:pt x="1512735" y="7059702"/>
                  <a:pt x="1462760" y="7017093"/>
                </a:cubicBezTo>
                <a:cubicBezTo>
                  <a:pt x="1390180" y="6955308"/>
                  <a:pt x="1308519" y="6814783"/>
                  <a:pt x="1336586" y="6786652"/>
                </a:cubicBezTo>
                <a:cubicBezTo>
                  <a:pt x="1364716" y="6758521"/>
                  <a:pt x="1577378" y="6809321"/>
                  <a:pt x="1633956" y="6842469"/>
                </a:cubicBezTo>
                <a:close/>
                <a:moveTo>
                  <a:pt x="5700814" y="3781768"/>
                </a:moveTo>
                <a:cubicBezTo>
                  <a:pt x="5731231" y="3983635"/>
                  <a:pt x="5678843" y="4182580"/>
                  <a:pt x="5549430" y="4357015"/>
                </a:cubicBezTo>
                <a:cubicBezTo>
                  <a:pt x="5378424" y="4587457"/>
                  <a:pt x="5084610" y="4757509"/>
                  <a:pt x="4782604" y="4800880"/>
                </a:cubicBezTo>
                <a:cubicBezTo>
                  <a:pt x="4720818" y="4814278"/>
                  <a:pt x="4655985" y="4821009"/>
                  <a:pt x="4590135" y="4821009"/>
                </a:cubicBezTo>
                <a:cubicBezTo>
                  <a:pt x="4267047" y="4821009"/>
                  <a:pt x="3919512" y="4659211"/>
                  <a:pt x="3790480" y="4330916"/>
                </a:cubicBezTo>
                <a:cubicBezTo>
                  <a:pt x="3600424" y="3869906"/>
                  <a:pt x="3735044" y="3221254"/>
                  <a:pt x="4238663" y="2991193"/>
                </a:cubicBezTo>
                <a:cubicBezTo>
                  <a:pt x="4519206" y="2871686"/>
                  <a:pt x="4847564" y="2892768"/>
                  <a:pt x="5140172" y="3049042"/>
                </a:cubicBezTo>
                <a:cubicBezTo>
                  <a:pt x="5437860" y="3207919"/>
                  <a:pt x="5642140" y="3474682"/>
                  <a:pt x="5700687" y="3780752"/>
                </a:cubicBezTo>
                <a:lnTo>
                  <a:pt x="5700814" y="3781768"/>
                </a:lnTo>
                <a:close/>
                <a:moveTo>
                  <a:pt x="5426684" y="3824948"/>
                </a:moveTo>
                <a:cubicBezTo>
                  <a:pt x="5379187" y="3558820"/>
                  <a:pt x="5132489" y="3321838"/>
                  <a:pt x="4826482" y="3248686"/>
                </a:cubicBezTo>
                <a:cubicBezTo>
                  <a:pt x="4765205" y="3234017"/>
                  <a:pt x="4705515" y="3226842"/>
                  <a:pt x="4648365" y="3226842"/>
                </a:cubicBezTo>
                <a:cubicBezTo>
                  <a:pt x="4463008" y="3226842"/>
                  <a:pt x="4303496" y="3302661"/>
                  <a:pt x="4195991" y="3445980"/>
                </a:cubicBezTo>
                <a:cubicBezTo>
                  <a:pt x="4051084" y="3642259"/>
                  <a:pt x="4016476" y="3951377"/>
                  <a:pt x="4111980" y="4197566"/>
                </a:cubicBezTo>
                <a:cubicBezTo>
                  <a:pt x="4180624" y="4376255"/>
                  <a:pt x="4372267" y="4494048"/>
                  <a:pt x="4600296" y="4497858"/>
                </a:cubicBezTo>
                <a:cubicBezTo>
                  <a:pt x="4857597" y="4505415"/>
                  <a:pt x="5136743" y="4394544"/>
                  <a:pt x="5293207" y="4222966"/>
                </a:cubicBezTo>
                <a:cubicBezTo>
                  <a:pt x="5397601" y="4108349"/>
                  <a:pt x="5443766" y="3970808"/>
                  <a:pt x="5426684" y="3824948"/>
                </a:cubicBezTo>
                <a:close/>
                <a:moveTo>
                  <a:pt x="5997486" y="3368320"/>
                </a:moveTo>
                <a:cubicBezTo>
                  <a:pt x="6205893" y="3938613"/>
                  <a:pt x="6172809" y="4740619"/>
                  <a:pt x="5628932" y="5247158"/>
                </a:cubicBezTo>
                <a:cubicBezTo>
                  <a:pt x="5337149" y="5525161"/>
                  <a:pt x="4955641" y="5672481"/>
                  <a:pt x="4546892" y="5672481"/>
                </a:cubicBezTo>
                <a:cubicBezTo>
                  <a:pt x="4425671" y="5672481"/>
                  <a:pt x="4302036" y="5659527"/>
                  <a:pt x="4177703" y="5633175"/>
                </a:cubicBezTo>
                <a:cubicBezTo>
                  <a:pt x="3564293" y="5503317"/>
                  <a:pt x="3040481" y="5078439"/>
                  <a:pt x="2810611" y="4524465"/>
                </a:cubicBezTo>
                <a:cubicBezTo>
                  <a:pt x="2626017" y="4110254"/>
                  <a:pt x="2628684" y="3621875"/>
                  <a:pt x="2818231" y="3185186"/>
                </a:cubicBezTo>
                <a:cubicBezTo>
                  <a:pt x="3012605" y="2737320"/>
                  <a:pt x="3378428" y="2392960"/>
                  <a:pt x="3821912" y="2240369"/>
                </a:cubicBezTo>
                <a:cubicBezTo>
                  <a:pt x="4240060" y="2091271"/>
                  <a:pt x="4668685" y="2111337"/>
                  <a:pt x="5061305" y="2298472"/>
                </a:cubicBezTo>
                <a:cubicBezTo>
                  <a:pt x="5487771" y="2501799"/>
                  <a:pt x="5828957" y="2891752"/>
                  <a:pt x="5997486" y="3368320"/>
                </a:cubicBezTo>
                <a:close/>
                <a:moveTo>
                  <a:pt x="5912777" y="3399498"/>
                </a:moveTo>
                <a:lnTo>
                  <a:pt x="5912523" y="3398736"/>
                </a:lnTo>
                <a:cubicBezTo>
                  <a:pt x="5721642" y="2853716"/>
                  <a:pt x="5139918" y="2475700"/>
                  <a:pt x="4501108" y="2482050"/>
                </a:cubicBezTo>
                <a:cubicBezTo>
                  <a:pt x="4498886" y="2481987"/>
                  <a:pt x="4496536" y="2481987"/>
                  <a:pt x="4494314" y="2481987"/>
                </a:cubicBezTo>
                <a:cubicBezTo>
                  <a:pt x="4001427" y="2481987"/>
                  <a:pt x="3552482" y="2702205"/>
                  <a:pt x="3261207" y="3086951"/>
                </a:cubicBezTo>
                <a:cubicBezTo>
                  <a:pt x="2967456" y="3474936"/>
                  <a:pt x="2877096" y="3972396"/>
                  <a:pt x="3013240" y="4451821"/>
                </a:cubicBezTo>
                <a:cubicBezTo>
                  <a:pt x="3127349" y="4841393"/>
                  <a:pt x="3386175" y="5148161"/>
                  <a:pt x="3741966" y="5315294"/>
                </a:cubicBezTo>
                <a:cubicBezTo>
                  <a:pt x="4108742" y="5487505"/>
                  <a:pt x="4542320" y="5489665"/>
                  <a:pt x="4931575" y="5321072"/>
                </a:cubicBezTo>
                <a:cubicBezTo>
                  <a:pt x="5634965" y="5040720"/>
                  <a:pt x="6210401" y="4182834"/>
                  <a:pt x="5912777" y="3399498"/>
                </a:cubicBezTo>
                <a:close/>
                <a:moveTo>
                  <a:pt x="4262602" y="6675146"/>
                </a:moveTo>
                <a:cubicBezTo>
                  <a:pt x="3930307" y="6675146"/>
                  <a:pt x="3598138" y="6609233"/>
                  <a:pt x="3281464" y="6477216"/>
                </a:cubicBezTo>
                <a:cubicBezTo>
                  <a:pt x="1930755" y="5919814"/>
                  <a:pt x="1212634" y="4262971"/>
                  <a:pt x="1713458" y="2859304"/>
                </a:cubicBezTo>
                <a:cubicBezTo>
                  <a:pt x="2049437" y="1884960"/>
                  <a:pt x="2866491" y="1209574"/>
                  <a:pt x="3898938" y="1053046"/>
                </a:cubicBezTo>
                <a:cubicBezTo>
                  <a:pt x="4927384" y="897217"/>
                  <a:pt x="5903633" y="1298474"/>
                  <a:pt x="6510439" y="2126768"/>
                </a:cubicBezTo>
                <a:cubicBezTo>
                  <a:pt x="7051713" y="2866352"/>
                  <a:pt x="7171284" y="3928707"/>
                  <a:pt x="6815112" y="4833265"/>
                </a:cubicBezTo>
                <a:cubicBezTo>
                  <a:pt x="6534061" y="5569611"/>
                  <a:pt x="5972022" y="6164415"/>
                  <a:pt x="5273141" y="6465025"/>
                </a:cubicBezTo>
                <a:cubicBezTo>
                  <a:pt x="4947640" y="6605042"/>
                  <a:pt x="4604994" y="6675146"/>
                  <a:pt x="4262602" y="6675146"/>
                </a:cubicBezTo>
                <a:close/>
                <a:moveTo>
                  <a:pt x="6733705" y="4801388"/>
                </a:moveTo>
                <a:cubicBezTo>
                  <a:pt x="7037934" y="4033673"/>
                  <a:pt x="6887629" y="3094444"/>
                  <a:pt x="6350737" y="2408771"/>
                </a:cubicBezTo>
                <a:cubicBezTo>
                  <a:pt x="5842927" y="1744180"/>
                  <a:pt x="5085626" y="1368959"/>
                  <a:pt x="4279874" y="1368959"/>
                </a:cubicBezTo>
                <a:cubicBezTo>
                  <a:pt x="4175226" y="1368959"/>
                  <a:pt x="4069880" y="1375309"/>
                  <a:pt x="3964025" y="1388136"/>
                </a:cubicBezTo>
                <a:cubicBezTo>
                  <a:pt x="3052102" y="1498753"/>
                  <a:pt x="2283942" y="2077238"/>
                  <a:pt x="1909165" y="2935631"/>
                </a:cubicBezTo>
                <a:cubicBezTo>
                  <a:pt x="1487779" y="3879812"/>
                  <a:pt x="1748510" y="5045800"/>
                  <a:pt x="2529052" y="5708422"/>
                </a:cubicBezTo>
                <a:cubicBezTo>
                  <a:pt x="3171101" y="6280811"/>
                  <a:pt x="4118267" y="6501092"/>
                  <a:pt x="5001679" y="6283859"/>
                </a:cubicBezTo>
                <a:cubicBezTo>
                  <a:pt x="5822607" y="6081929"/>
                  <a:pt x="6453860" y="5541798"/>
                  <a:pt x="6733578" y="4801833"/>
                </a:cubicBezTo>
                <a:lnTo>
                  <a:pt x="6733705" y="4801388"/>
                </a:lnTo>
                <a:close/>
                <a:moveTo>
                  <a:pt x="294043" y="3817773"/>
                </a:moveTo>
                <a:cubicBezTo>
                  <a:pt x="387515" y="2858605"/>
                  <a:pt x="856208" y="1962176"/>
                  <a:pt x="1613700" y="1293521"/>
                </a:cubicBezTo>
                <a:cubicBezTo>
                  <a:pt x="2369604" y="626199"/>
                  <a:pt x="3314103" y="271996"/>
                  <a:pt x="4274286" y="297587"/>
                </a:cubicBezTo>
                <a:cubicBezTo>
                  <a:pt x="5248694" y="322987"/>
                  <a:pt x="6146457" y="741388"/>
                  <a:pt x="6802475" y="1475829"/>
                </a:cubicBezTo>
                <a:cubicBezTo>
                  <a:pt x="6813906" y="1489863"/>
                  <a:pt x="6830415" y="1498753"/>
                  <a:pt x="6848513" y="1500531"/>
                </a:cubicBezTo>
                <a:cubicBezTo>
                  <a:pt x="6867817" y="1502499"/>
                  <a:pt x="6887185" y="1495895"/>
                  <a:pt x="6901154" y="1482751"/>
                </a:cubicBezTo>
                <a:cubicBezTo>
                  <a:pt x="6914998" y="1469670"/>
                  <a:pt x="6922617" y="1451128"/>
                  <a:pt x="6922046" y="1431887"/>
                </a:cubicBezTo>
                <a:cubicBezTo>
                  <a:pt x="6921538" y="1414742"/>
                  <a:pt x="6914617" y="1398550"/>
                  <a:pt x="6902869" y="1386358"/>
                </a:cubicBezTo>
                <a:cubicBezTo>
                  <a:pt x="6128106" y="475069"/>
                  <a:pt x="4996154" y="-29057"/>
                  <a:pt x="3796639" y="1296"/>
                </a:cubicBezTo>
                <a:cubicBezTo>
                  <a:pt x="2617698" y="31776"/>
                  <a:pt x="1526387" y="592671"/>
                  <a:pt x="802551" y="1540091"/>
                </a:cubicBezTo>
                <a:cubicBezTo>
                  <a:pt x="-337528" y="3019387"/>
                  <a:pt x="-254089" y="5175784"/>
                  <a:pt x="996416" y="6555258"/>
                </a:cubicBezTo>
                <a:cubicBezTo>
                  <a:pt x="1006068" y="6566244"/>
                  <a:pt x="1015974" y="6576975"/>
                  <a:pt x="1025880" y="6587770"/>
                </a:cubicBezTo>
                <a:lnTo>
                  <a:pt x="1040930" y="6604216"/>
                </a:lnTo>
                <a:lnTo>
                  <a:pt x="1048677" y="6608725"/>
                </a:lnTo>
                <a:cubicBezTo>
                  <a:pt x="1062329" y="6616535"/>
                  <a:pt x="1077760" y="6620600"/>
                  <a:pt x="1093190" y="6620600"/>
                </a:cubicBezTo>
                <a:cubicBezTo>
                  <a:pt x="1101255" y="6620600"/>
                  <a:pt x="1109383" y="6619520"/>
                  <a:pt x="1117130" y="6617234"/>
                </a:cubicBezTo>
                <a:cubicBezTo>
                  <a:pt x="1138783" y="6611011"/>
                  <a:pt x="1157071" y="6596470"/>
                  <a:pt x="1167358" y="6577229"/>
                </a:cubicBezTo>
                <a:cubicBezTo>
                  <a:pt x="1183233" y="6547384"/>
                  <a:pt x="1178915" y="6510554"/>
                  <a:pt x="1155420" y="6482233"/>
                </a:cubicBezTo>
                <a:cubicBezTo>
                  <a:pt x="505053" y="5737822"/>
                  <a:pt x="199174" y="4791546"/>
                  <a:pt x="294043" y="3817773"/>
                </a:cubicBezTo>
                <a:close/>
                <a:moveTo>
                  <a:pt x="7870673" y="3766973"/>
                </a:moveTo>
                <a:lnTo>
                  <a:pt x="7868132" y="3753257"/>
                </a:lnTo>
                <a:cubicBezTo>
                  <a:pt x="7856639" y="3716173"/>
                  <a:pt x="7823238" y="3690836"/>
                  <a:pt x="7787234" y="3692487"/>
                </a:cubicBezTo>
                <a:cubicBezTo>
                  <a:pt x="7764310" y="3693313"/>
                  <a:pt x="7742656" y="3704679"/>
                  <a:pt x="7727798" y="3723666"/>
                </a:cubicBezTo>
                <a:cubicBezTo>
                  <a:pt x="7713002" y="3742525"/>
                  <a:pt x="7706652" y="3766655"/>
                  <a:pt x="7709891" y="3790595"/>
                </a:cubicBezTo>
                <a:cubicBezTo>
                  <a:pt x="7730084" y="4495508"/>
                  <a:pt x="7559205" y="5182134"/>
                  <a:pt x="7215162" y="5777129"/>
                </a:cubicBezTo>
                <a:cubicBezTo>
                  <a:pt x="6587591" y="6893586"/>
                  <a:pt x="5451068" y="7616851"/>
                  <a:pt x="4171670" y="7712228"/>
                </a:cubicBezTo>
                <a:cubicBezTo>
                  <a:pt x="4121823" y="7718832"/>
                  <a:pt x="4085374" y="7763980"/>
                  <a:pt x="4090454" y="7812939"/>
                </a:cubicBezTo>
                <a:cubicBezTo>
                  <a:pt x="4094645" y="7852880"/>
                  <a:pt x="4125823" y="7885964"/>
                  <a:pt x="4166336" y="7893457"/>
                </a:cubicBezTo>
                <a:lnTo>
                  <a:pt x="4172877" y="7894664"/>
                </a:lnTo>
                <a:lnTo>
                  <a:pt x="4179481" y="7894346"/>
                </a:lnTo>
                <a:cubicBezTo>
                  <a:pt x="4275366" y="7889838"/>
                  <a:pt x="4371060" y="7881836"/>
                  <a:pt x="4463643" y="7870406"/>
                </a:cubicBezTo>
                <a:cubicBezTo>
                  <a:pt x="5484279" y="7747661"/>
                  <a:pt x="6392710" y="7245567"/>
                  <a:pt x="7021614" y="6456515"/>
                </a:cubicBezTo>
                <a:cubicBezTo>
                  <a:pt x="7627594" y="5696294"/>
                  <a:pt x="7929092" y="4741127"/>
                  <a:pt x="7870673" y="3766973"/>
                </a:cubicBezTo>
                <a:close/>
                <a:moveTo>
                  <a:pt x="7857592" y="3279293"/>
                </a:moveTo>
                <a:cubicBezTo>
                  <a:pt x="7891056" y="3143149"/>
                  <a:pt x="7842161" y="2638514"/>
                  <a:pt x="7673378" y="2437219"/>
                </a:cubicBezTo>
                <a:cubicBezTo>
                  <a:pt x="7621372" y="2375180"/>
                  <a:pt x="7560602" y="2323999"/>
                  <a:pt x="7491578" y="2365401"/>
                </a:cubicBezTo>
                <a:cubicBezTo>
                  <a:pt x="7399884" y="2420455"/>
                  <a:pt x="7418806" y="2520341"/>
                  <a:pt x="7486180" y="2613432"/>
                </a:cubicBezTo>
                <a:cubicBezTo>
                  <a:pt x="7599718" y="2770340"/>
                  <a:pt x="7686332" y="3124861"/>
                  <a:pt x="7691920" y="3261005"/>
                </a:cubicBezTo>
                <a:cubicBezTo>
                  <a:pt x="7694333" y="3319806"/>
                  <a:pt x="7734782" y="3359493"/>
                  <a:pt x="7782535" y="3360319"/>
                </a:cubicBezTo>
                <a:cubicBezTo>
                  <a:pt x="7830286" y="3361208"/>
                  <a:pt x="7843494" y="3336633"/>
                  <a:pt x="7857592" y="3279293"/>
                </a:cubicBezTo>
                <a:close/>
              </a:path>
            </a:pathLst>
          </a:custGeom>
          <a:solidFill>
            <a:srgbClr val="00625F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NL" sz="2968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17B4BEA-97D5-8160-E859-85EC9FFAAC14}"/>
              </a:ext>
            </a:extLst>
          </p:cNvPr>
          <p:cNvSpPr txBox="1"/>
          <p:nvPr userDrawn="1"/>
        </p:nvSpPr>
        <p:spPr>
          <a:xfrm>
            <a:off x="8306688" y="10697092"/>
            <a:ext cx="3490728" cy="3207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ctr">
              <a:spcAft>
                <a:spcPts val="495"/>
              </a:spcAft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en-GB" sz="1484">
                <a:solidFill>
                  <a:srgbClr val="66A19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IDH 2022 | All rights reserv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D9C7FDD-8F00-03A5-FF01-40BD9538142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0994303E-A424-9540-91A8-53B791C91E8F}" type="slidenum">
              <a:rPr lang="en-NL" smtClean="0"/>
              <a:pPr/>
              <a:t>‹#›</a:t>
            </a:fld>
            <a:endParaRPr lang="en-NL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7A5CDC7C-7F91-B7E6-C39E-9F50C91CFBCF}"/>
              </a:ext>
            </a:extLst>
          </p:cNvPr>
          <p:cNvGrpSpPr/>
          <p:nvPr userDrawn="1"/>
        </p:nvGrpSpPr>
        <p:grpSpPr>
          <a:xfrm>
            <a:off x="20358623" y="120542"/>
            <a:ext cx="2296013" cy="2309033"/>
            <a:chOff x="1318611" y="3000051"/>
            <a:chExt cx="1392402" cy="1400200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826AFE65-9C30-9A69-5D40-77D4F246BFA4}"/>
                </a:ext>
              </a:extLst>
            </p:cNvPr>
            <p:cNvSpPr txBox="1"/>
            <p:nvPr/>
          </p:nvSpPr>
          <p:spPr>
            <a:xfrm>
              <a:off x="1340308" y="3000051"/>
              <a:ext cx="1349008" cy="36938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GB" sz="1979" b="1">
                  <a:solidFill>
                    <a:srgbClr val="00625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lor scheme</a:t>
              </a:r>
            </a:p>
            <a:p>
              <a:pPr algn="ctr"/>
              <a:r>
                <a:rPr lang="en-GB" sz="1979" b="1">
                  <a:solidFill>
                    <a:srgbClr val="00625F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use eyedropper)</a:t>
              </a:r>
            </a:p>
          </p:txBody>
        </p: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DE0A82E5-B69C-CD49-535D-9320B4D8A7DB}"/>
                </a:ext>
              </a:extLst>
            </p:cNvPr>
            <p:cNvGrpSpPr/>
            <p:nvPr/>
          </p:nvGrpSpPr>
          <p:grpSpPr>
            <a:xfrm>
              <a:off x="1318611" y="3428999"/>
              <a:ext cx="1392402" cy="971252"/>
              <a:chOff x="1327638" y="3428999"/>
              <a:chExt cx="1392402" cy="971252"/>
            </a:xfrm>
          </p:grpSpPr>
          <p:sp>
            <p:nvSpPr>
              <p:cNvPr id="9" name="Rectangle 8">
                <a:extLst>
                  <a:ext uri="{FF2B5EF4-FFF2-40B4-BE49-F238E27FC236}">
                    <a16:creationId xmlns:a16="http://schemas.microsoft.com/office/drawing/2014/main" id="{30934681-C854-B7DF-8DDF-3E4CDC620BDE}"/>
                  </a:ext>
                </a:extLst>
              </p:cNvPr>
              <p:cNvSpPr/>
              <p:nvPr/>
            </p:nvSpPr>
            <p:spPr>
              <a:xfrm>
                <a:off x="1327638" y="3428999"/>
                <a:ext cx="180000" cy="180000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id="{F0CED6DE-7C8D-C6C5-A4A8-9F1C3B943B53}"/>
                  </a:ext>
                </a:extLst>
              </p:cNvPr>
              <p:cNvSpPr/>
              <p:nvPr/>
            </p:nvSpPr>
            <p:spPr>
              <a:xfrm>
                <a:off x="1529705" y="3428999"/>
                <a:ext cx="180000" cy="1800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E44B9990-8B8F-9CAE-12D4-5DCE5A5503C0}"/>
                  </a:ext>
                </a:extLst>
              </p:cNvPr>
              <p:cNvSpPr/>
              <p:nvPr/>
            </p:nvSpPr>
            <p:spPr>
              <a:xfrm>
                <a:off x="1731772" y="3428999"/>
                <a:ext cx="180000" cy="180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4BCCBF82-2A3C-CA59-F5FB-8CDF48E1D7E4}"/>
                  </a:ext>
                </a:extLst>
              </p:cNvPr>
              <p:cNvSpPr/>
              <p:nvPr/>
            </p:nvSpPr>
            <p:spPr>
              <a:xfrm>
                <a:off x="1933839" y="3428999"/>
                <a:ext cx="180000" cy="180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D58B4DF5-F75B-18A0-1E05-4CAB2F2596A3}"/>
                  </a:ext>
                </a:extLst>
              </p:cNvPr>
              <p:cNvSpPr/>
              <p:nvPr/>
            </p:nvSpPr>
            <p:spPr>
              <a:xfrm>
                <a:off x="2135906" y="3428999"/>
                <a:ext cx="180000" cy="180000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id="{79B2BAB3-8EC5-0338-9074-30480FB23B06}"/>
                  </a:ext>
                </a:extLst>
              </p:cNvPr>
              <p:cNvSpPr/>
              <p:nvPr/>
            </p:nvSpPr>
            <p:spPr>
              <a:xfrm>
                <a:off x="2337973" y="3428999"/>
                <a:ext cx="180000" cy="180000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15" name="Rectangle 14">
                <a:extLst>
                  <a:ext uri="{FF2B5EF4-FFF2-40B4-BE49-F238E27FC236}">
                    <a16:creationId xmlns:a16="http://schemas.microsoft.com/office/drawing/2014/main" id="{C4CB9917-893B-CE4C-0F0A-DB8EAFFE0056}"/>
                  </a:ext>
                </a:extLst>
              </p:cNvPr>
              <p:cNvSpPr/>
              <p:nvPr/>
            </p:nvSpPr>
            <p:spPr>
              <a:xfrm>
                <a:off x="1327638" y="3626812"/>
                <a:ext cx="180000" cy="180000"/>
              </a:xfrm>
              <a:prstGeom prst="rect">
                <a:avLst/>
              </a:prstGeom>
              <a:solidFill>
                <a:srgbClr val="33817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id="{A1B43DC8-56A4-9A94-5C25-F0B1D9AEA662}"/>
                  </a:ext>
                </a:extLst>
              </p:cNvPr>
              <p:cNvSpPr/>
              <p:nvPr/>
            </p:nvSpPr>
            <p:spPr>
              <a:xfrm>
                <a:off x="1529705" y="3626812"/>
                <a:ext cx="180000" cy="180000"/>
              </a:xfrm>
              <a:prstGeom prst="rect">
                <a:avLst/>
              </a:prstGeom>
              <a:solidFill>
                <a:srgbClr val="6CE19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17" name="Rectangle 16">
                <a:extLst>
                  <a:ext uri="{FF2B5EF4-FFF2-40B4-BE49-F238E27FC236}">
                    <a16:creationId xmlns:a16="http://schemas.microsoft.com/office/drawing/2014/main" id="{0672A82B-D680-C1AC-ED50-8780F66EB398}"/>
                  </a:ext>
                </a:extLst>
              </p:cNvPr>
              <p:cNvSpPr/>
              <p:nvPr/>
            </p:nvSpPr>
            <p:spPr>
              <a:xfrm>
                <a:off x="1731772" y="3626812"/>
                <a:ext cx="180000" cy="180000"/>
              </a:xfrm>
              <a:prstGeom prst="rect">
                <a:avLst/>
              </a:prstGeom>
              <a:solidFill>
                <a:srgbClr val="FF7D3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18" name="Rectangle 17">
                <a:extLst>
                  <a:ext uri="{FF2B5EF4-FFF2-40B4-BE49-F238E27FC236}">
                    <a16:creationId xmlns:a16="http://schemas.microsoft.com/office/drawing/2014/main" id="{A8AC1576-953E-0EC3-E2F3-7B956EEFA675}"/>
                  </a:ext>
                </a:extLst>
              </p:cNvPr>
              <p:cNvSpPr/>
              <p:nvPr/>
            </p:nvSpPr>
            <p:spPr>
              <a:xfrm>
                <a:off x="1933839" y="3626812"/>
                <a:ext cx="180000" cy="180000"/>
              </a:xfrm>
              <a:prstGeom prst="rect">
                <a:avLst/>
              </a:prstGeom>
              <a:solidFill>
                <a:srgbClr val="FFD13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19" name="Rectangle 18">
                <a:extLst>
                  <a:ext uri="{FF2B5EF4-FFF2-40B4-BE49-F238E27FC236}">
                    <a16:creationId xmlns:a16="http://schemas.microsoft.com/office/drawing/2014/main" id="{2338ABAA-8C70-FE9C-BCFD-56929529645B}"/>
                  </a:ext>
                </a:extLst>
              </p:cNvPr>
              <p:cNvSpPr/>
              <p:nvPr/>
            </p:nvSpPr>
            <p:spPr>
              <a:xfrm>
                <a:off x="2135906" y="3626812"/>
                <a:ext cx="180000" cy="180000"/>
              </a:xfrm>
              <a:prstGeom prst="rect">
                <a:avLst/>
              </a:prstGeom>
              <a:solidFill>
                <a:srgbClr val="33AD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6ED62697-693B-3C50-11D5-5248144DE517}"/>
                  </a:ext>
                </a:extLst>
              </p:cNvPr>
              <p:cNvSpPr/>
              <p:nvPr/>
            </p:nvSpPr>
            <p:spPr>
              <a:xfrm>
                <a:off x="2337973" y="3626812"/>
                <a:ext cx="180000" cy="180000"/>
              </a:xfrm>
              <a:prstGeom prst="rect">
                <a:avLst/>
              </a:prstGeom>
              <a:solidFill>
                <a:srgbClr val="935B4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7695B608-0854-5E8A-D9FA-11816BD11517}"/>
                  </a:ext>
                </a:extLst>
              </p:cNvPr>
              <p:cNvSpPr/>
              <p:nvPr/>
            </p:nvSpPr>
            <p:spPr>
              <a:xfrm>
                <a:off x="1327638" y="3824625"/>
                <a:ext cx="180000" cy="180000"/>
              </a:xfrm>
              <a:prstGeom prst="rect">
                <a:avLst/>
              </a:prstGeom>
              <a:solidFill>
                <a:srgbClr val="66A19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806A193F-74FD-9A79-7B07-81F09ACD9F42}"/>
                  </a:ext>
                </a:extLst>
              </p:cNvPr>
              <p:cNvSpPr/>
              <p:nvPr/>
            </p:nvSpPr>
            <p:spPr>
              <a:xfrm>
                <a:off x="1529705" y="3824625"/>
                <a:ext cx="180000" cy="180000"/>
              </a:xfrm>
              <a:prstGeom prst="rect">
                <a:avLst/>
              </a:prstGeom>
              <a:solidFill>
                <a:srgbClr val="91E8B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id="{63CBC2B8-54B3-12F9-979C-70EE0824DB32}"/>
                  </a:ext>
                </a:extLst>
              </p:cNvPr>
              <p:cNvSpPr/>
              <p:nvPr/>
            </p:nvSpPr>
            <p:spPr>
              <a:xfrm>
                <a:off x="1731772" y="3824625"/>
                <a:ext cx="180000" cy="180000"/>
              </a:xfrm>
              <a:prstGeom prst="rect">
                <a:avLst/>
              </a:prstGeom>
              <a:solidFill>
                <a:srgbClr val="FF9E6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24" name="Rectangle 23">
                <a:extLst>
                  <a:ext uri="{FF2B5EF4-FFF2-40B4-BE49-F238E27FC236}">
                    <a16:creationId xmlns:a16="http://schemas.microsoft.com/office/drawing/2014/main" id="{9E334C14-0408-A2E0-C508-14DF12D5AED3}"/>
                  </a:ext>
                </a:extLst>
              </p:cNvPr>
              <p:cNvSpPr/>
              <p:nvPr/>
            </p:nvSpPr>
            <p:spPr>
              <a:xfrm>
                <a:off x="1933839" y="3824625"/>
                <a:ext cx="180000" cy="180000"/>
              </a:xfrm>
              <a:prstGeom prst="rect">
                <a:avLst/>
              </a:prstGeom>
              <a:solidFill>
                <a:srgbClr val="FFDC6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25" name="Rectangle 24">
                <a:extLst>
                  <a:ext uri="{FF2B5EF4-FFF2-40B4-BE49-F238E27FC236}">
                    <a16:creationId xmlns:a16="http://schemas.microsoft.com/office/drawing/2014/main" id="{C6D8EB09-9558-DA37-73F7-2FC8DEE614E8}"/>
                  </a:ext>
                </a:extLst>
              </p:cNvPr>
              <p:cNvSpPr/>
              <p:nvPr/>
            </p:nvSpPr>
            <p:spPr>
              <a:xfrm>
                <a:off x="2135906" y="3824625"/>
                <a:ext cx="180000" cy="180000"/>
              </a:xfrm>
              <a:prstGeom prst="rect">
                <a:avLst/>
              </a:prstGeom>
              <a:solidFill>
                <a:srgbClr val="66C1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DD89D70F-0920-93A3-9980-74AFBDAD0605}"/>
                  </a:ext>
                </a:extLst>
              </p:cNvPr>
              <p:cNvSpPr/>
              <p:nvPr/>
            </p:nvSpPr>
            <p:spPr>
              <a:xfrm>
                <a:off x="2337973" y="3824625"/>
                <a:ext cx="180000" cy="180000"/>
              </a:xfrm>
              <a:prstGeom prst="rect">
                <a:avLst/>
              </a:prstGeom>
              <a:solidFill>
                <a:srgbClr val="AE8478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9EDACFF2-BCCC-CD0F-CEC4-34CA2A09F25B}"/>
                  </a:ext>
                </a:extLst>
              </p:cNvPr>
              <p:cNvSpPr/>
              <p:nvPr/>
            </p:nvSpPr>
            <p:spPr>
              <a:xfrm>
                <a:off x="1327638" y="4022438"/>
                <a:ext cx="180000" cy="180000"/>
              </a:xfrm>
              <a:prstGeom prst="rect">
                <a:avLst/>
              </a:prstGeom>
              <a:solidFill>
                <a:srgbClr val="99C0B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101C9F56-8D95-E8E6-DA16-C73DB03C2D79}"/>
                  </a:ext>
                </a:extLst>
              </p:cNvPr>
              <p:cNvSpPr/>
              <p:nvPr/>
            </p:nvSpPr>
            <p:spPr>
              <a:xfrm>
                <a:off x="1529705" y="4022438"/>
                <a:ext cx="180000" cy="180000"/>
              </a:xfrm>
              <a:prstGeom prst="rect">
                <a:avLst/>
              </a:prstGeom>
              <a:solidFill>
                <a:srgbClr val="B5F0CE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8C5C3C56-93ED-9425-4E7F-BC1B85B72822}"/>
                  </a:ext>
                </a:extLst>
              </p:cNvPr>
              <p:cNvSpPr/>
              <p:nvPr/>
            </p:nvSpPr>
            <p:spPr>
              <a:xfrm>
                <a:off x="1731772" y="4022438"/>
                <a:ext cx="180000" cy="180000"/>
              </a:xfrm>
              <a:prstGeom prst="rect">
                <a:avLst/>
              </a:prstGeom>
              <a:solidFill>
                <a:srgbClr val="FFBE9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8A11219C-B072-FFD0-7DEA-EC7CFA383049}"/>
                  </a:ext>
                </a:extLst>
              </p:cNvPr>
              <p:cNvSpPr/>
              <p:nvPr/>
            </p:nvSpPr>
            <p:spPr>
              <a:xfrm>
                <a:off x="1933839" y="4022438"/>
                <a:ext cx="180000" cy="180000"/>
              </a:xfrm>
              <a:prstGeom prst="rect">
                <a:avLst/>
              </a:prstGeom>
              <a:solidFill>
                <a:srgbClr val="FFE89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1A91CD12-82F1-535E-A592-33B568169DCA}"/>
                  </a:ext>
                </a:extLst>
              </p:cNvPr>
              <p:cNvSpPr/>
              <p:nvPr/>
            </p:nvSpPr>
            <p:spPr>
              <a:xfrm>
                <a:off x="2135906" y="4022438"/>
                <a:ext cx="180000" cy="180000"/>
              </a:xfrm>
              <a:prstGeom prst="rect">
                <a:avLst/>
              </a:prstGeom>
              <a:solidFill>
                <a:srgbClr val="99D6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5BB0C45C-7FB7-B9FE-3711-24C9D0F9657B}"/>
                  </a:ext>
                </a:extLst>
              </p:cNvPr>
              <p:cNvSpPr/>
              <p:nvPr/>
            </p:nvSpPr>
            <p:spPr>
              <a:xfrm>
                <a:off x="2337973" y="4022438"/>
                <a:ext cx="180000" cy="180000"/>
              </a:xfrm>
              <a:prstGeom prst="rect">
                <a:avLst/>
              </a:prstGeom>
              <a:solidFill>
                <a:srgbClr val="C9ADA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FE1DA915-63E0-F526-6BC5-F72D66A40E48}"/>
                  </a:ext>
                </a:extLst>
              </p:cNvPr>
              <p:cNvSpPr/>
              <p:nvPr/>
            </p:nvSpPr>
            <p:spPr>
              <a:xfrm>
                <a:off x="1327638" y="4220251"/>
                <a:ext cx="180000" cy="180000"/>
              </a:xfrm>
              <a:prstGeom prst="rect">
                <a:avLst/>
              </a:prstGeom>
              <a:solidFill>
                <a:srgbClr val="CCE0D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DF271A35-58F0-277D-296A-4057D4FFAAD1}"/>
                  </a:ext>
                </a:extLst>
              </p:cNvPr>
              <p:cNvSpPr/>
              <p:nvPr/>
            </p:nvSpPr>
            <p:spPr>
              <a:xfrm>
                <a:off x="1529705" y="4220251"/>
                <a:ext cx="180000" cy="180000"/>
              </a:xfrm>
              <a:prstGeom prst="rect">
                <a:avLst/>
              </a:prstGeom>
              <a:solidFill>
                <a:srgbClr val="DAF7E7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41D64952-933B-92A7-5ABF-50576B4EBE40}"/>
                  </a:ext>
                </a:extLst>
              </p:cNvPr>
              <p:cNvSpPr/>
              <p:nvPr/>
            </p:nvSpPr>
            <p:spPr>
              <a:xfrm>
                <a:off x="1731772" y="4220251"/>
                <a:ext cx="180000" cy="180000"/>
              </a:xfrm>
              <a:prstGeom prst="rect">
                <a:avLst/>
              </a:prstGeom>
              <a:solidFill>
                <a:srgbClr val="FFDFC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36E83CC9-30EA-D799-C10D-967F17EB6578}"/>
                  </a:ext>
                </a:extLst>
              </p:cNvPr>
              <p:cNvSpPr/>
              <p:nvPr/>
            </p:nvSpPr>
            <p:spPr>
              <a:xfrm>
                <a:off x="1933839" y="4220251"/>
                <a:ext cx="180000" cy="180000"/>
              </a:xfrm>
              <a:prstGeom prst="rect">
                <a:avLst/>
              </a:prstGeom>
              <a:solidFill>
                <a:srgbClr val="FFF3C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38" name="Rectangle 37">
                <a:extLst>
                  <a:ext uri="{FF2B5EF4-FFF2-40B4-BE49-F238E27FC236}">
                    <a16:creationId xmlns:a16="http://schemas.microsoft.com/office/drawing/2014/main" id="{DC1CCD9E-1A99-C383-0101-56884A434856}"/>
                  </a:ext>
                </a:extLst>
              </p:cNvPr>
              <p:cNvSpPr/>
              <p:nvPr/>
            </p:nvSpPr>
            <p:spPr>
              <a:xfrm>
                <a:off x="2135906" y="4220251"/>
                <a:ext cx="180000" cy="180000"/>
              </a:xfrm>
              <a:prstGeom prst="rect">
                <a:avLst/>
              </a:prstGeom>
              <a:solidFill>
                <a:srgbClr val="CCEA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39" name="Rectangle 38">
                <a:extLst>
                  <a:ext uri="{FF2B5EF4-FFF2-40B4-BE49-F238E27FC236}">
                    <a16:creationId xmlns:a16="http://schemas.microsoft.com/office/drawing/2014/main" id="{154D70CC-498E-0804-B512-ECB68A6FF609}"/>
                  </a:ext>
                </a:extLst>
              </p:cNvPr>
              <p:cNvSpPr/>
              <p:nvPr/>
            </p:nvSpPr>
            <p:spPr>
              <a:xfrm>
                <a:off x="2337973" y="4220251"/>
                <a:ext cx="180000" cy="180000"/>
              </a:xfrm>
              <a:prstGeom prst="rect">
                <a:avLst/>
              </a:prstGeom>
              <a:solidFill>
                <a:srgbClr val="E4D6D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FB0F4D47-58EF-33FD-59DB-62DEBB09AD9E}"/>
                  </a:ext>
                </a:extLst>
              </p:cNvPr>
              <p:cNvSpPr/>
              <p:nvPr/>
            </p:nvSpPr>
            <p:spPr>
              <a:xfrm>
                <a:off x="2540040" y="3428999"/>
                <a:ext cx="180000" cy="180000"/>
              </a:xfrm>
              <a:prstGeom prst="rect">
                <a:avLst/>
              </a:prstGeom>
              <a:solidFill>
                <a:srgbClr val="2D2D3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9B2B95B5-EF18-6927-02B5-E5EFFA421DAE}"/>
                  </a:ext>
                </a:extLst>
              </p:cNvPr>
              <p:cNvSpPr/>
              <p:nvPr/>
            </p:nvSpPr>
            <p:spPr>
              <a:xfrm>
                <a:off x="2540040" y="3626812"/>
                <a:ext cx="180000" cy="180000"/>
              </a:xfrm>
              <a:prstGeom prst="rect">
                <a:avLst/>
              </a:prstGeom>
              <a:solidFill>
                <a:srgbClr val="5757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42" name="Rectangle 41">
                <a:extLst>
                  <a:ext uri="{FF2B5EF4-FFF2-40B4-BE49-F238E27FC236}">
                    <a16:creationId xmlns:a16="http://schemas.microsoft.com/office/drawing/2014/main" id="{4A028043-1282-772E-5DE2-FC7898971940}"/>
                  </a:ext>
                </a:extLst>
              </p:cNvPr>
              <p:cNvSpPr/>
              <p:nvPr/>
            </p:nvSpPr>
            <p:spPr>
              <a:xfrm>
                <a:off x="2540040" y="3824625"/>
                <a:ext cx="180000" cy="180000"/>
              </a:xfrm>
              <a:prstGeom prst="rect">
                <a:avLst/>
              </a:prstGeom>
              <a:solidFill>
                <a:srgbClr val="81818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F6EE9FA8-F2AE-8DB2-3884-F0ACA265621B}"/>
                  </a:ext>
                </a:extLst>
              </p:cNvPr>
              <p:cNvSpPr/>
              <p:nvPr/>
            </p:nvSpPr>
            <p:spPr>
              <a:xfrm>
                <a:off x="2540040" y="4022438"/>
                <a:ext cx="180000" cy="180000"/>
              </a:xfrm>
              <a:prstGeom prst="rect">
                <a:avLst/>
              </a:prstGeom>
              <a:solidFill>
                <a:srgbClr val="ABABAD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F217A47C-0E78-9DA8-BA36-4D9CE62CECAE}"/>
                  </a:ext>
                </a:extLst>
              </p:cNvPr>
              <p:cNvSpPr/>
              <p:nvPr/>
            </p:nvSpPr>
            <p:spPr>
              <a:xfrm>
                <a:off x="2540040" y="4220251"/>
                <a:ext cx="180000" cy="180000"/>
              </a:xfrm>
              <a:prstGeom prst="rect">
                <a:avLst/>
              </a:prstGeom>
              <a:solidFill>
                <a:srgbClr val="D5D5D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2968"/>
              </a:p>
            </p:txBody>
          </p:sp>
        </p:grpSp>
      </p:grpSp>
      <p:sp>
        <p:nvSpPr>
          <p:cNvPr id="48" name="Title 47">
            <a:extLst>
              <a:ext uri="{FF2B5EF4-FFF2-40B4-BE49-F238E27FC236}">
                <a16:creationId xmlns:a16="http://schemas.microsoft.com/office/drawing/2014/main" id="{F9ECC2CA-66B4-9A8A-A1F4-D95898528F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086355" y="612258"/>
            <a:ext cx="17931390" cy="949867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lang="en-GB" sz="3298" b="0" dirty="0">
                <a:solidFill>
                  <a:srgbClr val="00625F"/>
                </a:solidFill>
                <a:ea typeface="+mn-ea"/>
              </a:defRPr>
            </a:lvl1pPr>
          </a:lstStyle>
          <a:p>
            <a:pPr lvl="0"/>
            <a:r>
              <a:rPr lang="en-GB"/>
              <a:t>Slide topic (change to bold, including the vertical bar) | Key take-away of the slide</a:t>
            </a:r>
            <a:endParaRPr lang="en-NL"/>
          </a:p>
        </p:txBody>
      </p:sp>
    </p:spTree>
    <p:extLst>
      <p:ext uri="{BB962C8B-B14F-4D97-AF65-F5344CB8AC3E}">
        <p14:creationId xmlns:p14="http://schemas.microsoft.com/office/powerpoint/2010/main" val="11556913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415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-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F23EB7-E336-46EB-A4A0-3DB7A6BF4C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585429" y="3484152"/>
            <a:ext cx="11210031" cy="2761325"/>
          </a:xfrm>
        </p:spPr>
        <p:txBody>
          <a:bodyPr rtlCol="0" anchor="ctr"/>
          <a:lstStyle>
            <a:lvl1pPr algn="ctr">
              <a:lnSpc>
                <a:spcPct val="100000"/>
              </a:lnSpc>
              <a:defRPr sz="9894" b="1" cap="all" spc="-495" baseline="0">
                <a:solidFill>
                  <a:schemeClr val="tx1"/>
                </a:solidFill>
                <a:latin typeface="+mj-lt"/>
              </a:defRPr>
            </a:lvl1pPr>
          </a:lstStyle>
          <a:p>
            <a:pPr rtl="0"/>
            <a:r>
              <a:rPr lang="en-GB" noProof="0"/>
              <a:t>Thank you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56F2950-BBCB-4A53-9EAC-D714777B8FA2}"/>
              </a:ext>
            </a:extLst>
          </p:cNvPr>
          <p:cNvSpPr/>
          <p:nvPr userDrawn="1"/>
        </p:nvSpPr>
        <p:spPr>
          <a:xfrm>
            <a:off x="0" y="11204320"/>
            <a:ext cx="16457389" cy="10503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4947" noProof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5253865-24CF-4EF5-92A5-F64EB9ABC8B7}"/>
              </a:ext>
            </a:extLst>
          </p:cNvPr>
          <p:cNvSpPr/>
          <p:nvPr userDrawn="1"/>
        </p:nvSpPr>
        <p:spPr>
          <a:xfrm>
            <a:off x="0" y="1"/>
            <a:ext cx="16457389" cy="10503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4947" noProof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BE19773-9B6A-4A2C-95A5-69A3788C2D94}"/>
              </a:ext>
            </a:extLst>
          </p:cNvPr>
          <p:cNvSpPr/>
          <p:nvPr userDrawn="1"/>
        </p:nvSpPr>
        <p:spPr>
          <a:xfrm rot="5400000">
            <a:off x="-5571303" y="5623817"/>
            <a:ext cx="11256839" cy="11423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4947" noProof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CA3EFDD3-A9D2-4EB6-BB2A-F6999D9F7E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85431" y="6655214"/>
            <a:ext cx="5490784" cy="631409"/>
          </a:xfrm>
        </p:spPr>
        <p:txBody>
          <a:bodyPr rtlCol="0"/>
          <a:lstStyle>
            <a:lvl1pPr marL="0" indent="0" algn="r">
              <a:buNone/>
              <a:defRPr sz="3958"/>
            </a:lvl1pPr>
            <a:lvl2pPr marL="439788" indent="0">
              <a:buNone/>
              <a:defRPr/>
            </a:lvl2pPr>
            <a:lvl3pPr marL="895283" indent="0">
              <a:buNone/>
              <a:defRPr/>
            </a:lvl3pPr>
            <a:lvl4pPr marL="1335072" indent="0">
              <a:buNone/>
              <a:defRPr/>
            </a:lvl4pPr>
            <a:lvl5pPr marL="1774860" indent="0">
              <a:buNone/>
              <a:defRPr/>
            </a:lvl5pPr>
          </a:lstStyle>
          <a:p>
            <a:pPr lvl="0" rtl="0"/>
            <a:r>
              <a:rPr lang="en-GB" noProof="0"/>
              <a:t>Full Nam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261ED1F7-B623-43D9-9BDA-8808C5CFAFF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996427" y="6843852"/>
            <a:ext cx="4799033" cy="392506"/>
          </a:xfrm>
        </p:spPr>
        <p:txBody>
          <a:bodyPr rtlCol="0"/>
          <a:lstStyle>
            <a:lvl1pPr marL="0" indent="0" algn="l">
              <a:buNone/>
              <a:defRPr sz="2309" i="1"/>
            </a:lvl1pPr>
            <a:lvl2pPr marL="439788" indent="0">
              <a:buNone/>
              <a:defRPr/>
            </a:lvl2pPr>
            <a:lvl3pPr marL="895283" indent="0">
              <a:buNone/>
              <a:defRPr/>
            </a:lvl3pPr>
            <a:lvl4pPr marL="1335072" indent="0">
              <a:buNone/>
              <a:defRPr/>
            </a:lvl4pPr>
            <a:lvl5pPr marL="1774860" indent="0">
              <a:buNone/>
              <a:defRPr/>
            </a:lvl5pPr>
          </a:lstStyle>
          <a:p>
            <a:pPr lvl="0" rtl="0"/>
            <a:r>
              <a:rPr lang="en-GB" noProof="0"/>
              <a:t>Phone Number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E27366FC-4115-4122-9CE2-5FA9D424AD5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96427" y="7487936"/>
            <a:ext cx="4799033" cy="392506"/>
          </a:xfrm>
        </p:spPr>
        <p:txBody>
          <a:bodyPr rtlCol="0"/>
          <a:lstStyle>
            <a:lvl1pPr marL="0" indent="0" algn="l">
              <a:buNone/>
              <a:defRPr sz="2309" i="1"/>
            </a:lvl1pPr>
            <a:lvl2pPr marL="439788" indent="0">
              <a:buNone/>
              <a:defRPr/>
            </a:lvl2pPr>
            <a:lvl3pPr marL="895283" indent="0">
              <a:buNone/>
              <a:defRPr/>
            </a:lvl3pPr>
            <a:lvl4pPr marL="1335072" indent="0">
              <a:buNone/>
              <a:defRPr/>
            </a:lvl4pPr>
            <a:lvl5pPr marL="1774860" indent="0">
              <a:buNone/>
              <a:defRPr/>
            </a:lvl5pPr>
          </a:lstStyle>
          <a:p>
            <a:pPr lvl="0" rtl="0"/>
            <a:r>
              <a:rPr lang="en-GB" noProof="0"/>
              <a:t>Email or Social Media Handl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EB36829-2F8B-4E22-AB6D-4111D18AF8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996427" y="8132018"/>
            <a:ext cx="4799033" cy="392506"/>
          </a:xfrm>
        </p:spPr>
        <p:txBody>
          <a:bodyPr rtlCol="0"/>
          <a:lstStyle>
            <a:lvl1pPr marL="0" indent="0" algn="l">
              <a:buNone/>
              <a:defRPr sz="2309" i="1"/>
            </a:lvl1pPr>
            <a:lvl2pPr marL="439788" indent="0">
              <a:buNone/>
              <a:defRPr/>
            </a:lvl2pPr>
            <a:lvl3pPr marL="895283" indent="0">
              <a:buNone/>
              <a:defRPr/>
            </a:lvl3pPr>
            <a:lvl4pPr marL="1335072" indent="0">
              <a:buNone/>
              <a:defRPr/>
            </a:lvl4pPr>
            <a:lvl5pPr marL="1774860" indent="0">
              <a:buNone/>
              <a:defRPr/>
            </a:lvl5pPr>
          </a:lstStyle>
          <a:p>
            <a:pPr lvl="0" rtl="0"/>
            <a:r>
              <a:rPr lang="en-GB" noProof="0"/>
              <a:t>Company Website</a:t>
            </a:r>
          </a:p>
        </p:txBody>
      </p:sp>
    </p:spTree>
    <p:extLst>
      <p:ext uri="{BB962C8B-B14F-4D97-AF65-F5344CB8AC3E}">
        <p14:creationId xmlns:p14="http://schemas.microsoft.com/office/powerpoint/2010/main" val="318901006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288DD7-6DAF-436D-B04A-EBCCAA3691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50" y="712400"/>
            <a:ext cx="15167119" cy="712400"/>
          </a:xfrm>
        </p:spPr>
        <p:txBody>
          <a:bodyPr rtlCol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rtl="0"/>
            <a:r>
              <a:rPr lang="en-GB" noProof="0"/>
              <a:t>Click to edit page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6B8F99-FAB0-4B33-87ED-9FF46D11A907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 rtlCol="0"/>
          <a:lstStyle/>
          <a:p>
            <a:pPr rtl="0"/>
            <a:r>
              <a:rPr lang="en-GB" noProof="0"/>
              <a:t>Add a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5D237A-BD90-4D90-B328-7F1A502A266D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 rtlCol="0"/>
          <a:lstStyle/>
          <a:p>
            <a:pPr rtl="0"/>
            <a:fld id="{19B51A1E-902D-48AF-9020-955120F399B6}" type="slidenum">
              <a:rPr lang="en-GB" noProof="0" smtClean="0"/>
              <a:pPr rtl="0"/>
              <a:t>‹#›</a:t>
            </a:fld>
            <a:endParaRPr lang="en-GB" noProof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B97B01E-88B2-448F-BD96-A1AAFA39AC1E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712350" y="1761904"/>
            <a:ext cx="7312866" cy="1358692"/>
          </a:xfrm>
          <a:solidFill>
            <a:schemeClr val="tx1"/>
          </a:solidFill>
        </p:spPr>
        <p:txBody>
          <a:bodyPr rtlCol="0" anchor="ctr"/>
          <a:lstStyle>
            <a:lvl1pPr marL="0" indent="0">
              <a:buNone/>
              <a:defRPr sz="3958" b="1">
                <a:solidFill>
                  <a:schemeClr val="bg1"/>
                </a:solidFill>
              </a:defRPr>
            </a:lvl1pPr>
            <a:lvl2pPr marL="753923" indent="0">
              <a:buNone/>
              <a:defRPr sz="3298" b="1"/>
            </a:lvl2pPr>
            <a:lvl3pPr marL="1507846" indent="0">
              <a:buNone/>
              <a:defRPr sz="2968" b="1"/>
            </a:lvl3pPr>
            <a:lvl4pPr marL="2261768" indent="0">
              <a:buNone/>
              <a:defRPr sz="2638" b="1"/>
            </a:lvl4pPr>
            <a:lvl5pPr marL="3015691" indent="0">
              <a:buNone/>
              <a:defRPr sz="2638" b="1"/>
            </a:lvl5pPr>
            <a:lvl6pPr marL="3769614" indent="0">
              <a:buNone/>
              <a:defRPr sz="2638" b="1"/>
            </a:lvl6pPr>
            <a:lvl7pPr marL="4523537" indent="0">
              <a:buNone/>
              <a:defRPr sz="2638" b="1"/>
            </a:lvl7pPr>
            <a:lvl8pPr marL="5277460" indent="0">
              <a:buNone/>
              <a:defRPr sz="2638" b="1"/>
            </a:lvl8pPr>
            <a:lvl9pPr marL="6031382" indent="0">
              <a:buNone/>
              <a:defRPr sz="2638" b="1"/>
            </a:lvl9pPr>
          </a:lstStyle>
          <a:p>
            <a:pPr lvl="0" rtl="0"/>
            <a:r>
              <a:rPr lang="en-GB" noProof="0"/>
              <a:t>Edit Master text styles</a:t>
            </a:r>
          </a:p>
        </p:txBody>
      </p:sp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40BADDE2-4EE6-41B4-804C-EBF680128B40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8566603" y="1761904"/>
            <a:ext cx="7312866" cy="1358692"/>
          </a:xfrm>
          <a:solidFill>
            <a:schemeClr val="tx1"/>
          </a:solidFill>
        </p:spPr>
        <p:txBody>
          <a:bodyPr rtlCol="0" anchor="ctr"/>
          <a:lstStyle>
            <a:lvl1pPr marL="0" indent="0">
              <a:buNone/>
              <a:defRPr sz="3958" b="1">
                <a:solidFill>
                  <a:schemeClr val="bg1"/>
                </a:solidFill>
              </a:defRPr>
            </a:lvl1pPr>
            <a:lvl2pPr marL="753923" indent="0">
              <a:buNone/>
              <a:defRPr sz="3298" b="1"/>
            </a:lvl2pPr>
            <a:lvl3pPr marL="1507846" indent="0">
              <a:buNone/>
              <a:defRPr sz="2968" b="1"/>
            </a:lvl3pPr>
            <a:lvl4pPr marL="2261768" indent="0">
              <a:buNone/>
              <a:defRPr sz="2638" b="1"/>
            </a:lvl4pPr>
            <a:lvl5pPr marL="3015691" indent="0">
              <a:buNone/>
              <a:defRPr sz="2638" b="1"/>
            </a:lvl5pPr>
            <a:lvl6pPr marL="3769614" indent="0">
              <a:buNone/>
              <a:defRPr sz="2638" b="1"/>
            </a:lvl6pPr>
            <a:lvl7pPr marL="4523537" indent="0">
              <a:buNone/>
              <a:defRPr sz="2638" b="1"/>
            </a:lvl7pPr>
            <a:lvl8pPr marL="5277460" indent="0">
              <a:buNone/>
              <a:defRPr sz="2638" b="1"/>
            </a:lvl8pPr>
            <a:lvl9pPr marL="6031382" indent="0">
              <a:buNone/>
              <a:defRPr sz="2638" b="1"/>
            </a:lvl9pPr>
          </a:lstStyle>
          <a:p>
            <a:pPr lvl="0" rtl="0"/>
            <a:r>
              <a:rPr lang="en-GB" noProof="0"/>
              <a:t>Edit Master text styles</a:t>
            </a:r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BB0A14E0-899D-4594-BC9E-AE89BF0D3AB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712352" y="3457700"/>
            <a:ext cx="7312866" cy="6749513"/>
          </a:xfrm>
        </p:spPr>
        <p:txBody>
          <a:bodyPr rtlCol="0"/>
          <a:lstStyle/>
          <a:p>
            <a:pPr lvl="0" rtl="0"/>
            <a:r>
              <a:rPr lang="en-GB" noProof="0"/>
              <a:t>Edit Master text styles</a:t>
            </a:r>
          </a:p>
          <a:p>
            <a:pPr lvl="1" rtl="0"/>
            <a:r>
              <a:rPr lang="en-GB" noProof="0"/>
              <a:t>Second level</a:t>
            </a:r>
          </a:p>
          <a:p>
            <a:pPr lvl="2" rtl="0"/>
            <a:r>
              <a:rPr lang="en-GB" noProof="0"/>
              <a:t>Third level</a:t>
            </a:r>
          </a:p>
          <a:p>
            <a:pPr lvl="3" rtl="0"/>
            <a:r>
              <a:rPr lang="en-GB" noProof="0"/>
              <a:t>Fourth level</a:t>
            </a:r>
          </a:p>
          <a:p>
            <a:pPr lvl="4" rtl="0"/>
            <a:r>
              <a:rPr lang="en-GB" noProof="0"/>
              <a:t>Fifth level</a:t>
            </a:r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2C699014-D902-4E9A-80CD-8D2BCFE67097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8566603" y="3457700"/>
            <a:ext cx="7312866" cy="6749513"/>
          </a:xfrm>
        </p:spPr>
        <p:txBody>
          <a:bodyPr rtlCol="0"/>
          <a:lstStyle/>
          <a:p>
            <a:pPr lvl="0" rtl="0"/>
            <a:r>
              <a:rPr lang="en-GB" noProof="0"/>
              <a:t>Edit Master text styles</a:t>
            </a:r>
          </a:p>
          <a:p>
            <a:pPr lvl="1" rtl="0"/>
            <a:r>
              <a:rPr lang="en-GB" noProof="0"/>
              <a:t>Second level</a:t>
            </a:r>
          </a:p>
          <a:p>
            <a:pPr lvl="2" rtl="0"/>
            <a:r>
              <a:rPr lang="en-GB" noProof="0"/>
              <a:t>Third level</a:t>
            </a:r>
          </a:p>
          <a:p>
            <a:pPr lvl="3" rtl="0"/>
            <a:r>
              <a:rPr lang="en-GB" noProof="0"/>
              <a:t>Fourth level</a:t>
            </a:r>
          </a:p>
          <a:p>
            <a:pPr lvl="4" rtl="0"/>
            <a:r>
              <a:rPr lang="en-GB" noProof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6346826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90ED7CE-A9D2-4D19-B978-56BFB74E657C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387119" y="712400"/>
            <a:ext cx="9023286" cy="9497430"/>
          </a:xfrm>
          <a:solidFill>
            <a:schemeClr val="tx1">
              <a:lumMod val="75000"/>
              <a:lumOff val="25000"/>
            </a:schemeClr>
          </a:solidFill>
        </p:spPr>
        <p:txBody>
          <a:bodyPr rtlCol="0" anchor="ctr"/>
          <a:lstStyle>
            <a:lvl1pPr marL="0" indent="0" algn="ctr">
              <a:buNone/>
              <a:defRPr sz="1979" i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rtl="0"/>
            <a:r>
              <a:rPr lang="en-GB" noProof="0"/>
              <a:t>Insert or Drag &amp; Drop your phot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2238F2-C6EC-476F-8371-119AECBA562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390231" y="8404724"/>
            <a:ext cx="3345219" cy="1805106"/>
          </a:xfrm>
        </p:spPr>
        <p:txBody>
          <a:bodyPr rtlCol="0" anchor="b"/>
          <a:lstStyle>
            <a:lvl1pPr marL="0" indent="0" algn="r">
              <a:buNone/>
              <a:defRPr i="1">
                <a:solidFill>
                  <a:schemeClr val="tx1"/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 rtl="0"/>
            <a:r>
              <a:rPr lang="en-GB" noProof="0"/>
              <a:t>Enter your captio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847F90-9DB6-4832-9EB7-393AADAE8B7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 rtlCol="0"/>
          <a:lstStyle/>
          <a:p>
            <a:pPr rtl="0"/>
            <a:r>
              <a:rPr lang="en-GB" noProof="0"/>
              <a:t>Add a footer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25951D2-91DB-40E7-95D5-4B372602DEB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 rtlCol="0"/>
          <a:lstStyle/>
          <a:p>
            <a:pPr rtl="0"/>
            <a:fld id="{19B51A1E-902D-48AF-9020-955120F399B6}" type="slidenum">
              <a:rPr lang="en-GB" noProof="0" smtClean="0"/>
              <a:pPr rtl="0"/>
              <a:t>‹#›</a:t>
            </a:fld>
            <a:endParaRPr lang="en-GB" noProof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6EFF903-F1F3-440A-B12C-9FD51606B0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en-US" noProof="0"/>
              <a:t>Click to edit Master 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98778464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C626A5-4FF6-42BD-858A-AE4B2C23A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rtlCol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rtl="0"/>
            <a:r>
              <a:rPr lang="en-GB" noProof="0"/>
              <a:t>Click to edit page title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10727B06-56A8-44A2-B6C2-9ED183D107F3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12022" y="1662267"/>
            <a:ext cx="15167310" cy="593667"/>
          </a:xfrm>
        </p:spPr>
        <p:txBody>
          <a:bodyPr rtlCol="0"/>
          <a:lstStyle>
            <a:lvl1pPr marL="0" indent="0">
              <a:buNone/>
              <a:defRPr i="1">
                <a:latin typeface="+mn-lt"/>
              </a:defRPr>
            </a:lvl1pPr>
            <a:lvl2pPr marL="439788" indent="0">
              <a:buNone/>
              <a:defRPr/>
            </a:lvl2pPr>
            <a:lvl3pPr marL="895283" indent="0">
              <a:buNone/>
              <a:defRPr/>
            </a:lvl3pPr>
            <a:lvl4pPr marL="1335072" indent="0">
              <a:buNone/>
              <a:defRPr/>
            </a:lvl4pPr>
            <a:lvl5pPr marL="1774860" indent="0">
              <a:buNone/>
              <a:defRPr/>
            </a:lvl5pPr>
          </a:lstStyle>
          <a:p>
            <a:pPr lvl="0" rtl="0"/>
            <a:r>
              <a:rPr lang="en-GB" noProof="0"/>
              <a:t>Sub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CCB8C2-B6A2-4C69-8D3A-57420A034BA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/>
          <a:p>
            <a:pPr rtl="0"/>
            <a:r>
              <a:rPr lang="en-GB" noProof="0"/>
              <a:t>Add a footer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E801980-CBAE-4A50-886D-54D7BB2E1947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 rtlCol="0"/>
          <a:lstStyle/>
          <a:p>
            <a:pPr rtl="0"/>
            <a:fld id="{19B51A1E-902D-48AF-9020-955120F399B6}" type="slidenum">
              <a:rPr lang="en-GB" noProof="0" smtClean="0"/>
              <a:pPr rtl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50585527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Phot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">
            <a:extLst>
              <a:ext uri="{FF2B5EF4-FFF2-40B4-BE49-F238E27FC236}">
                <a16:creationId xmlns:a16="http://schemas.microsoft.com/office/drawing/2014/main" id="{1599E2D7-24B3-4D66-9AFB-83C1AEC4DBBB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16457389" y="0"/>
            <a:ext cx="3646711" cy="10211067"/>
          </a:xfrm>
          <a:solidFill>
            <a:schemeClr val="bg1">
              <a:lumMod val="95000"/>
            </a:schemeClr>
          </a:solidFill>
        </p:spPr>
        <p:txBody>
          <a:bodyPr rtlCol="0" anchor="ctr"/>
          <a:lstStyle>
            <a:lvl1pPr marL="0" indent="0" algn="ctr">
              <a:buNone/>
              <a:defRPr sz="1979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rtl="0"/>
            <a:r>
              <a:rPr lang="en-GB" noProof="0"/>
              <a:t>Insert or Drag &amp; Drop your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0EE479C-D1F6-4BAC-80D2-90EF74E326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329763" y="2981443"/>
            <a:ext cx="8549705" cy="712400"/>
          </a:xfrm>
        </p:spPr>
        <p:txBody>
          <a:bodyPr rtlCol="0"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rtl="0"/>
            <a:r>
              <a:rPr lang="en-GB" noProof="0"/>
              <a:t>Click to edit page title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3FAEED1D-0E66-4F74-9455-675F5CB7EAD4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329433" y="3931310"/>
            <a:ext cx="8549705" cy="593667"/>
          </a:xfrm>
        </p:spPr>
        <p:txBody>
          <a:bodyPr rtlCol="0"/>
          <a:lstStyle>
            <a:lvl1pPr marL="0" indent="0" algn="r">
              <a:buNone/>
              <a:defRPr i="1">
                <a:latin typeface="+mn-lt"/>
              </a:defRPr>
            </a:lvl1pPr>
            <a:lvl2pPr marL="439788" indent="0">
              <a:buNone/>
              <a:defRPr/>
            </a:lvl2pPr>
            <a:lvl3pPr marL="895283" indent="0">
              <a:buNone/>
              <a:defRPr/>
            </a:lvl3pPr>
            <a:lvl4pPr marL="1335072" indent="0">
              <a:buNone/>
              <a:defRPr/>
            </a:lvl4pPr>
            <a:lvl5pPr marL="1774860" indent="0">
              <a:buNone/>
              <a:defRPr/>
            </a:lvl5pPr>
          </a:lstStyle>
          <a:p>
            <a:pPr lvl="0" rtl="0"/>
            <a:r>
              <a:rPr lang="en-GB" noProof="0"/>
              <a:t>Subtit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2238F2-C6EC-476F-8371-119AECBA562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7329620" y="4796002"/>
            <a:ext cx="8549519" cy="5415065"/>
          </a:xfrm>
          <a:solidFill>
            <a:schemeClr val="bg1"/>
          </a:solidFill>
        </p:spPr>
        <p:txBody>
          <a:bodyPr lIns="180000" tIns="252000" rIns="252000" rtlCol="0"/>
          <a:lstStyle>
            <a:lvl1pPr algn="l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algn="l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algn="l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algn="l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algn="l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 rtl="0"/>
            <a:r>
              <a:rPr lang="en-GB" noProof="0"/>
              <a:t>Edit Master text styles</a:t>
            </a:r>
          </a:p>
          <a:p>
            <a:pPr lvl="1" rtl="0"/>
            <a:r>
              <a:rPr lang="en-GB" noProof="0"/>
              <a:t>Second level</a:t>
            </a:r>
          </a:p>
          <a:p>
            <a:pPr lvl="2" rtl="0"/>
            <a:r>
              <a:rPr lang="en-GB" noProof="0"/>
              <a:t>Third level</a:t>
            </a:r>
          </a:p>
          <a:p>
            <a:pPr lvl="3" rtl="0"/>
            <a:r>
              <a:rPr lang="en-GB" noProof="0"/>
              <a:t>Fourth level</a:t>
            </a:r>
          </a:p>
          <a:p>
            <a:pPr lvl="4" rtl="0"/>
            <a:r>
              <a:rPr lang="en-GB" noProof="0"/>
              <a:t>Fif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7847F90-9DB6-4832-9EB7-393AADAE8B7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 rtlCol="0"/>
          <a:lstStyle/>
          <a:p>
            <a:pPr rtl="0"/>
            <a:r>
              <a:rPr lang="en-GB" noProof="0"/>
              <a:t>Add a footer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3DA1E79-BA17-41C5-98B7-CFBC5859A512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 rtlCol="0"/>
          <a:lstStyle/>
          <a:p>
            <a:pPr rtl="0"/>
            <a:fld id="{19B51A1E-902D-48AF-9020-955120F399B6}" type="slidenum">
              <a:rPr lang="en-GB" noProof="0" smtClean="0"/>
              <a:pPr rtl="0"/>
              <a:t>‹#›</a:t>
            </a:fld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35010399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Sma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">
            <a:extLst>
              <a:ext uri="{FF2B5EF4-FFF2-40B4-BE49-F238E27FC236}">
                <a16:creationId xmlns:a16="http://schemas.microsoft.com/office/drawing/2014/main" id="{837F9836-5B23-424D-8C60-AC02A8512A4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6457389" y="0"/>
            <a:ext cx="3646711" cy="11309350"/>
          </a:xfrm>
          <a:solidFill>
            <a:schemeClr val="bg1">
              <a:lumMod val="95000"/>
            </a:schemeClr>
          </a:solidFill>
        </p:spPr>
        <p:txBody>
          <a:bodyPr rtlCol="0" anchor="ctr"/>
          <a:lstStyle>
            <a:lvl1pPr marL="0" indent="0" algn="ctr">
              <a:buNone/>
              <a:defRPr sz="1979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rtl="0"/>
            <a:r>
              <a:rPr lang="en-GB" noProof="0"/>
              <a:t>Insert or Drag &amp; Drop your photo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0F23EB7-E336-46EB-A4A0-3DB7A6BF4C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3235" y="7167364"/>
            <a:ext cx="11210031" cy="2761325"/>
          </a:xfrm>
        </p:spPr>
        <p:txBody>
          <a:bodyPr rtlCol="0" anchor="b"/>
          <a:lstStyle>
            <a:lvl1pPr algn="r">
              <a:lnSpc>
                <a:spcPts val="8245"/>
              </a:lnSpc>
              <a:defRPr sz="9894" b="1" cap="all" spc="-495" baseline="0">
                <a:solidFill>
                  <a:schemeClr val="tx1"/>
                </a:solidFill>
                <a:latin typeface="+mj-lt"/>
              </a:defRPr>
            </a:lvl1pPr>
          </a:lstStyle>
          <a:p>
            <a:pPr rtl="0"/>
            <a:r>
              <a:rPr lang="en-GB" noProof="0"/>
              <a:t>PRESENTATION TIT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9980B88-3F4A-4688-9ED0-17EF37E62D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057025" y="7669083"/>
            <a:ext cx="5608895" cy="1965759"/>
          </a:xfrm>
          <a:solidFill>
            <a:schemeClr val="tx1"/>
          </a:solidFill>
        </p:spPr>
        <p:txBody>
          <a:bodyPr lIns="252000" tIns="0" rtlCol="0" anchor="ctr"/>
          <a:lstStyle>
            <a:lvl1pPr marL="0" indent="0" algn="l">
              <a:lnSpc>
                <a:spcPct val="100000"/>
              </a:lnSpc>
              <a:buNone/>
              <a:defRPr sz="2968" i="1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753923" indent="0" algn="ctr">
              <a:buNone/>
              <a:defRPr sz="3298"/>
            </a:lvl2pPr>
            <a:lvl3pPr marL="1507846" indent="0" algn="ctr">
              <a:buNone/>
              <a:defRPr sz="2968"/>
            </a:lvl3pPr>
            <a:lvl4pPr marL="2261768" indent="0" algn="ctr">
              <a:buNone/>
              <a:defRPr sz="2638"/>
            </a:lvl4pPr>
            <a:lvl5pPr marL="3015691" indent="0" algn="ctr">
              <a:buNone/>
              <a:defRPr sz="2638"/>
            </a:lvl5pPr>
            <a:lvl6pPr marL="3769614" indent="0" algn="ctr">
              <a:buNone/>
              <a:defRPr sz="2638"/>
            </a:lvl6pPr>
            <a:lvl7pPr marL="4523537" indent="0" algn="ctr">
              <a:buNone/>
              <a:defRPr sz="2638"/>
            </a:lvl7pPr>
            <a:lvl8pPr marL="5277460" indent="0" algn="ctr">
              <a:buNone/>
              <a:defRPr sz="2638"/>
            </a:lvl8pPr>
            <a:lvl9pPr marL="6031382" indent="0" algn="ctr">
              <a:buNone/>
              <a:defRPr sz="2638"/>
            </a:lvl9pPr>
          </a:lstStyle>
          <a:p>
            <a:pPr rtl="0"/>
            <a:r>
              <a:rPr lang="en-US" noProof="0"/>
              <a:t>Click to edit Master subtitle style</a:t>
            </a:r>
            <a:endParaRPr lang="en-GB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56F2950-BBCB-4A53-9EAC-D714777B8FA2}"/>
              </a:ext>
            </a:extLst>
          </p:cNvPr>
          <p:cNvSpPr/>
          <p:nvPr userDrawn="1"/>
        </p:nvSpPr>
        <p:spPr>
          <a:xfrm>
            <a:off x="0" y="11204320"/>
            <a:ext cx="16457389" cy="10503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4947" noProof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5253865-24CF-4EF5-92A5-F64EB9ABC8B7}"/>
              </a:ext>
            </a:extLst>
          </p:cNvPr>
          <p:cNvSpPr/>
          <p:nvPr userDrawn="1"/>
        </p:nvSpPr>
        <p:spPr>
          <a:xfrm>
            <a:off x="0" y="1"/>
            <a:ext cx="16457389" cy="10503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4947" noProof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BE19773-9B6A-4A2C-95A5-69A3788C2D94}"/>
              </a:ext>
            </a:extLst>
          </p:cNvPr>
          <p:cNvSpPr/>
          <p:nvPr userDrawn="1"/>
        </p:nvSpPr>
        <p:spPr>
          <a:xfrm rot="5400000">
            <a:off x="-5571303" y="5623817"/>
            <a:ext cx="11256839" cy="11423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4947" noProof="0"/>
          </a:p>
        </p:txBody>
      </p:sp>
    </p:spTree>
    <p:extLst>
      <p:ext uri="{BB962C8B-B14F-4D97-AF65-F5344CB8AC3E}">
        <p14:creationId xmlns:p14="http://schemas.microsoft.com/office/powerpoint/2010/main" val="13340384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590B6ED0-CFCF-40AD-AABB-96D1873F194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2548680" y="-28574"/>
            <a:ext cx="7553831" cy="11344275"/>
          </a:xfrm>
          <a:custGeom>
            <a:avLst/>
            <a:gdLst>
              <a:gd name="connsiteX0" fmla="*/ 1457325 w 10044112"/>
              <a:gd name="connsiteY0" fmla="*/ 0 h 11344275"/>
              <a:gd name="connsiteX1" fmla="*/ 10044112 w 10044112"/>
              <a:gd name="connsiteY1" fmla="*/ 0 h 11344275"/>
              <a:gd name="connsiteX2" fmla="*/ 10044112 w 10044112"/>
              <a:gd name="connsiteY2" fmla="*/ 11344275 h 11344275"/>
              <a:gd name="connsiteX3" fmla="*/ 0 w 10044112"/>
              <a:gd name="connsiteY3" fmla="*/ 11344275 h 11344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44112" h="11344275">
                <a:moveTo>
                  <a:pt x="1457325" y="0"/>
                </a:moveTo>
                <a:lnTo>
                  <a:pt x="10044112" y="0"/>
                </a:lnTo>
                <a:lnTo>
                  <a:pt x="10044112" y="11344275"/>
                </a:lnTo>
                <a:lnTo>
                  <a:pt x="0" y="11344275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2826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g object 17">
            <a:extLst>
              <a:ext uri="{FF2B5EF4-FFF2-40B4-BE49-F238E27FC236}">
                <a16:creationId xmlns:a16="http://schemas.microsoft.com/office/drawing/2014/main" id="{1C0CD573-14E2-4D68-97BB-8359A4E3CA46}"/>
              </a:ext>
            </a:extLst>
          </p:cNvPr>
          <p:cNvPicPr/>
          <p:nvPr userDrawn="1"/>
        </p:nvPicPr>
        <p:blipFill>
          <a:blip r:embed="rId2" cstate="print"/>
          <a:stretch>
            <a:fillRect/>
          </a:stretch>
        </p:blipFill>
        <p:spPr>
          <a:xfrm>
            <a:off x="-7235" y="7195715"/>
            <a:ext cx="20104100" cy="2274203"/>
          </a:xfrm>
          <a:prstGeom prst="rect">
            <a:avLst/>
          </a:prstGeom>
          <a:solidFill>
            <a:srgbClr val="399C94"/>
          </a:solidFill>
          <a:ln>
            <a:noFill/>
          </a:ln>
          <a:effectLst/>
        </p:spPr>
      </p:pic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7CE51E4-3397-4B0C-9066-6485B66E1605}"/>
              </a:ext>
            </a:extLst>
          </p:cNvPr>
          <p:cNvCxnSpPr>
            <a:cxnSpLocks/>
          </p:cNvCxnSpPr>
          <p:nvPr userDrawn="1"/>
        </p:nvCxnSpPr>
        <p:spPr>
          <a:xfrm>
            <a:off x="2723744" y="7677879"/>
            <a:ext cx="0" cy="1363971"/>
          </a:xfrm>
          <a:prstGeom prst="line">
            <a:avLst/>
          </a:prstGeom>
          <a:ln w="1270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Google Shape;1318;p39">
            <a:extLst>
              <a:ext uri="{FF2B5EF4-FFF2-40B4-BE49-F238E27FC236}">
                <a16:creationId xmlns:a16="http://schemas.microsoft.com/office/drawing/2014/main" id="{0C5FC2CE-6661-4C70-A2CB-A5E843A6DE88}"/>
              </a:ext>
            </a:extLst>
          </p:cNvPr>
          <p:cNvSpPr txBox="1">
            <a:spLocks/>
          </p:cNvSpPr>
          <p:nvPr userDrawn="1"/>
        </p:nvSpPr>
        <p:spPr>
          <a:xfrm>
            <a:off x="3330917" y="7842280"/>
            <a:ext cx="15661527" cy="11995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Overpass"/>
              <a:buNone/>
              <a:defRPr sz="5200" b="1" i="0" u="none" strike="noStrike" cap="none">
                <a:solidFill>
                  <a:schemeClr val="dk2"/>
                </a:solidFill>
                <a:latin typeface="Overpass"/>
                <a:ea typeface="Overpass"/>
                <a:cs typeface="Overpass"/>
                <a:sym typeface="Overpass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Arial"/>
              <a:buNone/>
              <a:defRPr sz="3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0B68E"/>
              </a:buClr>
              <a:buSzPts val="3600"/>
              <a:buFont typeface="Overpass"/>
              <a:buNone/>
              <a:tabLst/>
              <a:defRPr/>
            </a:pPr>
            <a:r>
              <a:rPr kumimoji="0" lang="en-GB" sz="60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omfortaa" pitchFamily="2" charset="0"/>
                <a:sym typeface="Overpass"/>
              </a:rPr>
              <a:t>Enter Title Her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19F6631-0C95-4347-BCA4-0865F9458271}"/>
              </a:ext>
            </a:extLst>
          </p:cNvPr>
          <p:cNvSpPr txBox="1"/>
          <p:nvPr userDrawn="1"/>
        </p:nvSpPr>
        <p:spPr>
          <a:xfrm>
            <a:off x="638857" y="7513480"/>
            <a:ext cx="1948700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400" b="1" kern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sym typeface="Overpass"/>
              </a:rPr>
              <a:t>01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FA6E4EA5-EDCA-451C-B8F3-D6F989A5221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2745" y="0"/>
            <a:ext cx="20161251" cy="11309350"/>
          </a:xfrm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22709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0596687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Right Vari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590B6ED0-CFCF-40AD-AABB-96D1873F194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99450" y="0"/>
            <a:ext cx="11804649" cy="11309350"/>
          </a:xfrm>
          <a:custGeom>
            <a:avLst/>
            <a:gdLst>
              <a:gd name="connsiteX0" fmla="*/ 1457325 w 10044112"/>
              <a:gd name="connsiteY0" fmla="*/ 0 h 11344275"/>
              <a:gd name="connsiteX1" fmla="*/ 10044112 w 10044112"/>
              <a:gd name="connsiteY1" fmla="*/ 0 h 11344275"/>
              <a:gd name="connsiteX2" fmla="*/ 10044112 w 10044112"/>
              <a:gd name="connsiteY2" fmla="*/ 11344275 h 11344275"/>
              <a:gd name="connsiteX3" fmla="*/ 0 w 10044112"/>
              <a:gd name="connsiteY3" fmla="*/ 11344275 h 113442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44112" h="11344275">
                <a:moveTo>
                  <a:pt x="1457325" y="0"/>
                </a:moveTo>
                <a:lnTo>
                  <a:pt x="10044112" y="0"/>
                </a:lnTo>
                <a:lnTo>
                  <a:pt x="10044112" y="11344275"/>
                </a:lnTo>
                <a:lnTo>
                  <a:pt x="0" y="11344275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GB"/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A29740D6-805F-46A7-AC4F-2353B24DDD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24617" y="4740275"/>
            <a:ext cx="5662840" cy="430887"/>
          </a:xfrm>
        </p:spPr>
        <p:txBody>
          <a:bodyPr/>
          <a:lstStyle>
            <a:lvl1pPr>
              <a:defRPr sz="2800">
                <a:solidFill>
                  <a:srgbClr val="333333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lvl="0"/>
            <a:r>
              <a:rPr lang="en-GB"/>
              <a:t>The text goes here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692680FA-F464-404F-BE66-FF70571100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046620" y="2987675"/>
            <a:ext cx="7543800" cy="615553"/>
          </a:xfrm>
        </p:spPr>
        <p:txBody>
          <a:bodyPr/>
          <a:lstStyle>
            <a:lvl1pPr>
              <a:defRPr sz="4000" b="1">
                <a:solidFill>
                  <a:srgbClr val="449BCC"/>
                </a:solidFill>
                <a:latin typeface="Comfortaa" pitchFamily="2" charset="0"/>
              </a:defRPr>
            </a:lvl1pPr>
          </a:lstStyle>
          <a:p>
            <a:pPr lvl="0"/>
            <a:r>
              <a:rPr lang="en-GB"/>
              <a:t>Enter Title Here</a:t>
            </a:r>
          </a:p>
        </p:txBody>
      </p:sp>
    </p:spTree>
    <p:extLst>
      <p:ext uri="{BB962C8B-B14F-4D97-AF65-F5344CB8AC3E}">
        <p14:creationId xmlns:p14="http://schemas.microsoft.com/office/powerpoint/2010/main" val="22306862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A29740D6-805F-46A7-AC4F-2353B24DDDB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0661650" y="3008237"/>
            <a:ext cx="8646433" cy="3447098"/>
          </a:xfrm>
        </p:spPr>
        <p:txBody>
          <a:bodyPr/>
          <a:lstStyle>
            <a:lvl1pPr>
              <a:defRPr sz="2800">
                <a:solidFill>
                  <a:srgbClr val="333333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The text goes here - Ex his </a:t>
            </a:r>
            <a:r>
              <a:rPr lang="en-GB" err="1"/>
              <a:t>quidam</a:t>
            </a:r>
            <a:r>
              <a:rPr lang="en-GB"/>
              <a:t> </a:t>
            </a:r>
            <a:r>
              <a:rPr lang="en-GB" err="1"/>
              <a:t>aeternitati</a:t>
            </a:r>
            <a:r>
              <a:rPr lang="en-GB"/>
              <a:t> se </a:t>
            </a:r>
            <a:r>
              <a:rPr lang="en-GB" err="1"/>
              <a:t>commendari</a:t>
            </a:r>
            <a:r>
              <a:rPr lang="en-GB"/>
              <a:t> posse per </a:t>
            </a:r>
            <a:r>
              <a:rPr lang="en-GB" err="1"/>
              <a:t>statuas</a:t>
            </a:r>
            <a:r>
              <a:rPr lang="en-GB"/>
              <a:t> </a:t>
            </a:r>
            <a:r>
              <a:rPr lang="en-GB" err="1"/>
              <a:t>aestimantes</a:t>
            </a:r>
            <a:r>
              <a:rPr lang="en-GB"/>
              <a:t> </a:t>
            </a:r>
            <a:r>
              <a:rPr lang="en-GB" err="1"/>
              <a:t>eas</a:t>
            </a:r>
            <a:r>
              <a:rPr lang="en-GB"/>
              <a:t> </a:t>
            </a:r>
            <a:r>
              <a:rPr lang="en-GB" err="1"/>
              <a:t>ardenter</a:t>
            </a:r>
            <a:r>
              <a:rPr lang="en-GB"/>
              <a:t> </a:t>
            </a:r>
            <a:r>
              <a:rPr lang="en-GB" err="1"/>
              <a:t>adfectant</a:t>
            </a:r>
            <a:r>
              <a:rPr lang="en-GB"/>
              <a:t> quasi plus </a:t>
            </a:r>
            <a:r>
              <a:rPr lang="en-GB" err="1"/>
              <a:t>praemii</a:t>
            </a:r>
            <a:r>
              <a:rPr lang="en-GB"/>
              <a:t> de </a:t>
            </a:r>
            <a:r>
              <a:rPr lang="en-GB" err="1"/>
              <a:t>figmentis</a:t>
            </a:r>
            <a:r>
              <a:rPr lang="en-GB"/>
              <a:t> </a:t>
            </a:r>
            <a:r>
              <a:rPr lang="en-GB" err="1"/>
              <a:t>aereis</a:t>
            </a:r>
            <a:r>
              <a:rPr lang="en-GB"/>
              <a:t> </a:t>
            </a:r>
            <a:r>
              <a:rPr lang="en-GB" err="1"/>
              <a:t>sensu</a:t>
            </a:r>
            <a:r>
              <a:rPr lang="en-GB"/>
              <a:t> </a:t>
            </a:r>
            <a:r>
              <a:rPr lang="en-GB" err="1"/>
              <a:t>carentibus</a:t>
            </a:r>
            <a:r>
              <a:rPr lang="en-GB"/>
              <a:t> </a:t>
            </a:r>
            <a:r>
              <a:rPr lang="en-GB" err="1"/>
              <a:t>adepturi</a:t>
            </a:r>
            <a:r>
              <a:rPr lang="en-GB"/>
              <a:t>, </a:t>
            </a:r>
            <a:r>
              <a:rPr lang="en-GB" err="1"/>
              <a:t>quam</a:t>
            </a:r>
            <a:r>
              <a:rPr lang="en-GB"/>
              <a:t> ex </a:t>
            </a:r>
            <a:r>
              <a:rPr lang="en-GB" err="1"/>
              <a:t>conscientia</a:t>
            </a:r>
            <a:r>
              <a:rPr lang="en-GB"/>
              <a:t> </a:t>
            </a:r>
            <a:r>
              <a:rPr lang="en-GB" err="1"/>
              <a:t>honeste</a:t>
            </a:r>
            <a:r>
              <a:rPr lang="en-GB"/>
              <a:t> </a:t>
            </a:r>
            <a:r>
              <a:rPr lang="en-GB" err="1"/>
              <a:t>recteque</a:t>
            </a:r>
            <a:r>
              <a:rPr lang="en-GB"/>
              <a:t> </a:t>
            </a:r>
            <a:r>
              <a:rPr lang="en-GB" err="1"/>
              <a:t>factorum</a:t>
            </a:r>
            <a:r>
              <a:rPr lang="en-GB"/>
              <a:t>, </a:t>
            </a:r>
            <a:r>
              <a:rPr lang="en-GB" err="1"/>
              <a:t>easque</a:t>
            </a:r>
            <a:r>
              <a:rPr lang="en-GB"/>
              <a:t> </a:t>
            </a:r>
            <a:r>
              <a:rPr lang="en-GB" err="1"/>
              <a:t>auro</a:t>
            </a:r>
            <a:r>
              <a:rPr lang="en-GB"/>
              <a:t> </a:t>
            </a:r>
            <a:r>
              <a:rPr lang="en-GB" err="1"/>
              <a:t>curant</a:t>
            </a:r>
            <a:r>
              <a:rPr lang="en-GB"/>
              <a:t> </a:t>
            </a:r>
            <a:r>
              <a:rPr lang="en-GB" err="1"/>
              <a:t>inbracteari</a:t>
            </a:r>
            <a:r>
              <a:rPr lang="en-GB"/>
              <a:t>, quod </a:t>
            </a:r>
            <a:r>
              <a:rPr lang="en-GB" err="1"/>
              <a:t>Acilio</a:t>
            </a:r>
            <a:r>
              <a:rPr lang="en-GB"/>
              <a:t> </a:t>
            </a:r>
            <a:r>
              <a:rPr lang="en-GB" err="1"/>
              <a:t>Glabrioni</a:t>
            </a:r>
            <a:r>
              <a:rPr lang="en-GB"/>
              <a:t> </a:t>
            </a:r>
            <a:r>
              <a:rPr lang="en-GB" err="1"/>
              <a:t>delatum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primo, cum </a:t>
            </a:r>
            <a:r>
              <a:rPr lang="en-GB" err="1"/>
              <a:t>consiliis</a:t>
            </a:r>
            <a:r>
              <a:rPr lang="en-GB"/>
              <a:t> </a:t>
            </a:r>
            <a:r>
              <a:rPr lang="en-GB" err="1"/>
              <a:t>armisque</a:t>
            </a:r>
            <a:r>
              <a:rPr lang="en-GB"/>
              <a:t> </a:t>
            </a:r>
            <a:r>
              <a:rPr lang="en-GB" err="1"/>
              <a:t>regem</a:t>
            </a:r>
            <a:r>
              <a:rPr lang="en-GB"/>
              <a:t> </a:t>
            </a:r>
            <a:r>
              <a:rPr lang="en-GB" err="1"/>
              <a:t>superasset</a:t>
            </a:r>
            <a:r>
              <a:rPr lang="en-GB"/>
              <a:t> </a:t>
            </a:r>
            <a:r>
              <a:rPr lang="en-GB" err="1"/>
              <a:t>Antiochum</a:t>
            </a:r>
            <a:r>
              <a:rPr lang="en-GB"/>
              <a:t>. </a:t>
            </a:r>
          </a:p>
          <a:p>
            <a:pPr lvl="0"/>
            <a:endParaRPr lang="en-GB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692680FA-F464-404F-BE66-FF70571100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70050" y="1320074"/>
            <a:ext cx="7543800" cy="615553"/>
          </a:xfrm>
        </p:spPr>
        <p:txBody>
          <a:bodyPr/>
          <a:lstStyle>
            <a:lvl1pPr>
              <a:defRPr sz="4000" b="1">
                <a:solidFill>
                  <a:srgbClr val="449BCC"/>
                </a:solidFill>
                <a:latin typeface="Comfortaa" pitchFamily="2" charset="0"/>
              </a:defRPr>
            </a:lvl1pPr>
          </a:lstStyle>
          <a:p>
            <a:pPr lvl="0"/>
            <a:r>
              <a:rPr lang="en-GB"/>
              <a:t>Enter Title Here</a:t>
            </a:r>
          </a:p>
        </p:txBody>
      </p:sp>
      <p:sp>
        <p:nvSpPr>
          <p:cNvPr id="14" name="Text Placeholder 26">
            <a:extLst>
              <a:ext uri="{FF2B5EF4-FFF2-40B4-BE49-F238E27FC236}">
                <a16:creationId xmlns:a16="http://schemas.microsoft.com/office/drawing/2014/main" id="{BB35C685-8EFC-4458-951F-63088C6E8A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70050" y="3008237"/>
            <a:ext cx="8646433" cy="6032421"/>
          </a:xfrm>
        </p:spPr>
        <p:txBody>
          <a:bodyPr/>
          <a:lstStyle>
            <a:lvl1pPr marL="342900" indent="-342900">
              <a:buClr>
                <a:srgbClr val="3F9BC9"/>
              </a:buClr>
              <a:buSzPct val="130000"/>
              <a:buFont typeface="Arial" panose="020B0604020202020204" pitchFamily="34" charset="0"/>
              <a:buChar char="•"/>
              <a:defRPr sz="2800">
                <a:solidFill>
                  <a:srgbClr val="333333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The text goes here - Ex his </a:t>
            </a:r>
            <a:r>
              <a:rPr lang="en-GB" err="1"/>
              <a:t>quidam</a:t>
            </a:r>
            <a:r>
              <a:rPr lang="en-GB"/>
              <a:t> </a:t>
            </a:r>
            <a:r>
              <a:rPr lang="en-GB" err="1"/>
              <a:t>aeternitati</a:t>
            </a:r>
            <a:r>
              <a:rPr lang="en-GB"/>
              <a:t> se </a:t>
            </a:r>
            <a:r>
              <a:rPr lang="en-GB" err="1"/>
              <a:t>commendari</a:t>
            </a:r>
            <a:r>
              <a:rPr lang="en-GB"/>
              <a:t> posse per </a:t>
            </a:r>
            <a:r>
              <a:rPr lang="en-GB" err="1"/>
              <a:t>statuas</a:t>
            </a:r>
            <a:r>
              <a:rPr lang="en-GB"/>
              <a:t> </a:t>
            </a:r>
            <a:r>
              <a:rPr lang="en-GB" err="1"/>
              <a:t>aestimantes</a:t>
            </a:r>
            <a:r>
              <a:rPr lang="en-GB"/>
              <a:t> </a:t>
            </a:r>
            <a:r>
              <a:rPr lang="en-GB" err="1"/>
              <a:t>eas</a:t>
            </a:r>
            <a:r>
              <a:rPr lang="en-GB"/>
              <a:t> </a:t>
            </a:r>
            <a:r>
              <a:rPr lang="en-GB" err="1"/>
              <a:t>ardenter</a:t>
            </a:r>
            <a:r>
              <a:rPr lang="en-GB"/>
              <a:t> </a:t>
            </a:r>
            <a:r>
              <a:rPr lang="en-GB" err="1"/>
              <a:t>adfectant</a:t>
            </a:r>
            <a:r>
              <a:rPr lang="en-GB"/>
              <a:t> quasi plus </a:t>
            </a:r>
            <a:r>
              <a:rPr lang="en-GB" err="1"/>
              <a:t>praemii</a:t>
            </a:r>
            <a:r>
              <a:rPr lang="en-GB"/>
              <a:t> de </a:t>
            </a:r>
            <a:r>
              <a:rPr lang="en-GB" err="1"/>
              <a:t>figmentis</a:t>
            </a:r>
            <a:r>
              <a:rPr lang="en-GB"/>
              <a:t> </a:t>
            </a:r>
            <a:r>
              <a:rPr lang="en-GB" err="1"/>
              <a:t>aereis</a:t>
            </a:r>
            <a:r>
              <a:rPr lang="en-GB"/>
              <a:t> </a:t>
            </a:r>
            <a:r>
              <a:rPr lang="en-GB" err="1"/>
              <a:t>sensu</a:t>
            </a:r>
            <a:r>
              <a:rPr lang="en-GB"/>
              <a:t> </a:t>
            </a:r>
            <a:r>
              <a:rPr lang="en-GB" err="1"/>
              <a:t>carentibus</a:t>
            </a:r>
            <a:r>
              <a:rPr lang="en-GB"/>
              <a:t> </a:t>
            </a:r>
            <a:r>
              <a:rPr lang="en-GB" err="1"/>
              <a:t>adepturi</a:t>
            </a:r>
            <a:r>
              <a:rPr lang="en-GB"/>
              <a:t>, </a:t>
            </a:r>
            <a:r>
              <a:rPr lang="en-GB" err="1"/>
              <a:t>quam</a:t>
            </a:r>
            <a:r>
              <a:rPr lang="en-GB"/>
              <a:t> ex </a:t>
            </a:r>
            <a:r>
              <a:rPr lang="en-GB" err="1"/>
              <a:t>conscientia</a:t>
            </a:r>
            <a:r>
              <a:rPr lang="en-GB"/>
              <a:t> </a:t>
            </a:r>
            <a:r>
              <a:rPr lang="en-GB" err="1"/>
              <a:t>honeste</a:t>
            </a:r>
            <a:r>
              <a:rPr lang="en-GB"/>
              <a:t> </a:t>
            </a:r>
            <a:r>
              <a:rPr lang="en-GB" err="1"/>
              <a:t>recteque</a:t>
            </a:r>
            <a:r>
              <a:rPr lang="en-GB"/>
              <a:t> </a:t>
            </a:r>
            <a:r>
              <a:rPr lang="en-GB" err="1"/>
              <a:t>factorum</a:t>
            </a:r>
            <a:r>
              <a:rPr lang="en-GB"/>
              <a:t>, </a:t>
            </a:r>
            <a:r>
              <a:rPr lang="en-GB" err="1"/>
              <a:t>easque</a:t>
            </a:r>
            <a:r>
              <a:rPr lang="en-GB"/>
              <a:t> </a:t>
            </a:r>
            <a:r>
              <a:rPr lang="en-GB" err="1"/>
              <a:t>auro</a:t>
            </a:r>
            <a:r>
              <a:rPr lang="en-GB"/>
              <a:t> </a:t>
            </a:r>
            <a:r>
              <a:rPr lang="en-GB" err="1"/>
              <a:t>curant</a:t>
            </a:r>
            <a:r>
              <a:rPr lang="en-GB"/>
              <a:t> </a:t>
            </a:r>
            <a:r>
              <a:rPr lang="en-GB" err="1"/>
              <a:t>inbracteari</a:t>
            </a:r>
            <a:r>
              <a:rPr lang="en-GB"/>
              <a:t>, quod </a:t>
            </a:r>
            <a:r>
              <a:rPr lang="en-GB" err="1"/>
              <a:t>Acilio</a:t>
            </a:r>
            <a:r>
              <a:rPr lang="en-GB"/>
              <a:t> </a:t>
            </a:r>
            <a:r>
              <a:rPr lang="en-GB" err="1"/>
              <a:t>Glabrioni</a:t>
            </a:r>
            <a:r>
              <a:rPr lang="en-GB"/>
              <a:t> </a:t>
            </a:r>
            <a:r>
              <a:rPr lang="en-GB" err="1"/>
              <a:t>delatum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primo, cum </a:t>
            </a:r>
            <a:r>
              <a:rPr lang="en-GB" err="1"/>
              <a:t>consiliis</a:t>
            </a:r>
            <a:r>
              <a:rPr lang="en-GB"/>
              <a:t> </a:t>
            </a:r>
            <a:r>
              <a:rPr lang="en-GB" err="1"/>
              <a:t>armisque</a:t>
            </a:r>
            <a:r>
              <a:rPr lang="en-GB"/>
              <a:t> </a:t>
            </a:r>
            <a:r>
              <a:rPr lang="en-GB" err="1"/>
              <a:t>regem</a:t>
            </a:r>
            <a:r>
              <a:rPr lang="en-GB"/>
              <a:t> </a:t>
            </a:r>
            <a:r>
              <a:rPr lang="en-GB" err="1"/>
              <a:t>superasset</a:t>
            </a:r>
            <a:r>
              <a:rPr lang="en-GB"/>
              <a:t> </a:t>
            </a:r>
            <a:r>
              <a:rPr lang="en-GB" err="1"/>
              <a:t>Antiochum</a:t>
            </a:r>
            <a:r>
              <a:rPr lang="en-GB"/>
              <a:t>.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/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/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/>
              <a:t>Your first point 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GB"/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/>
              <a:t>Your second point</a:t>
            </a:r>
            <a:br>
              <a:rPr lang="en-GB"/>
            </a:br>
            <a:r>
              <a:rPr lang="en-GB"/>
              <a:t> 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GB"/>
              <a:t>Your third poin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9010EED-98F8-8FB4-2F5D-29E1ADB67DB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6670979" y="450974"/>
            <a:ext cx="2635810" cy="1040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63348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692680FA-F464-404F-BE66-FF70571100B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670050" y="1311275"/>
            <a:ext cx="7543800" cy="615553"/>
          </a:xfrm>
        </p:spPr>
        <p:txBody>
          <a:bodyPr/>
          <a:lstStyle>
            <a:lvl1pPr>
              <a:defRPr sz="4000" b="1">
                <a:solidFill>
                  <a:srgbClr val="449BCC"/>
                </a:solidFill>
                <a:latin typeface="Comfortaa" pitchFamily="2" charset="0"/>
              </a:defRPr>
            </a:lvl1pPr>
          </a:lstStyle>
          <a:p>
            <a:pPr lvl="0"/>
            <a:r>
              <a:rPr lang="en-GB"/>
              <a:t>Enter Title Here</a:t>
            </a:r>
          </a:p>
        </p:txBody>
      </p:sp>
      <p:sp>
        <p:nvSpPr>
          <p:cNvPr id="14" name="Text Placeholder 26">
            <a:extLst>
              <a:ext uri="{FF2B5EF4-FFF2-40B4-BE49-F238E27FC236}">
                <a16:creationId xmlns:a16="http://schemas.microsoft.com/office/drawing/2014/main" id="{BB35C685-8EFC-4458-951F-63088C6E8A8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70050" y="3008237"/>
            <a:ext cx="8646433" cy="5170646"/>
          </a:xfrm>
        </p:spPr>
        <p:txBody>
          <a:bodyPr/>
          <a:lstStyle>
            <a:lvl1pPr>
              <a:defRPr sz="2800">
                <a:solidFill>
                  <a:srgbClr val="333333"/>
                </a:solidFill>
                <a:latin typeface="Roboto Light" panose="02000000000000000000" pitchFamily="2" charset="0"/>
                <a:ea typeface="Roboto Light" panose="02000000000000000000" pitchFamily="2" charset="0"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Ex his </a:t>
            </a:r>
            <a:r>
              <a:rPr lang="en-GB" err="1"/>
              <a:t>quidam</a:t>
            </a:r>
            <a:r>
              <a:rPr lang="en-GB"/>
              <a:t> </a:t>
            </a:r>
            <a:r>
              <a:rPr lang="en-GB" err="1"/>
              <a:t>aeternitati</a:t>
            </a:r>
            <a:r>
              <a:rPr lang="en-GB"/>
              <a:t> se </a:t>
            </a:r>
            <a:r>
              <a:rPr lang="en-GB" err="1"/>
              <a:t>commendari</a:t>
            </a:r>
            <a:r>
              <a:rPr lang="en-GB"/>
              <a:t> posse per </a:t>
            </a:r>
            <a:r>
              <a:rPr lang="en-GB" err="1"/>
              <a:t>statuas</a:t>
            </a:r>
            <a:r>
              <a:rPr lang="en-GB"/>
              <a:t> </a:t>
            </a:r>
            <a:r>
              <a:rPr lang="en-GB" err="1"/>
              <a:t>aestimantes</a:t>
            </a:r>
            <a:r>
              <a:rPr lang="en-GB"/>
              <a:t> </a:t>
            </a:r>
            <a:r>
              <a:rPr lang="en-GB" err="1"/>
              <a:t>eas</a:t>
            </a:r>
            <a:r>
              <a:rPr lang="en-GB"/>
              <a:t> </a:t>
            </a:r>
            <a:r>
              <a:rPr lang="en-GB" err="1"/>
              <a:t>ardenter</a:t>
            </a:r>
            <a:r>
              <a:rPr lang="en-GB"/>
              <a:t> </a:t>
            </a:r>
            <a:r>
              <a:rPr lang="en-GB" err="1"/>
              <a:t>adfectant</a:t>
            </a:r>
            <a:r>
              <a:rPr lang="en-GB"/>
              <a:t> quasi plus </a:t>
            </a:r>
            <a:r>
              <a:rPr lang="en-GB" err="1"/>
              <a:t>praemii</a:t>
            </a:r>
            <a:r>
              <a:rPr lang="en-GB"/>
              <a:t> de </a:t>
            </a:r>
            <a:r>
              <a:rPr lang="en-GB" err="1"/>
              <a:t>figmentis</a:t>
            </a:r>
            <a:r>
              <a:rPr lang="en-GB"/>
              <a:t> </a:t>
            </a:r>
            <a:r>
              <a:rPr lang="en-GB" err="1"/>
              <a:t>aereis</a:t>
            </a:r>
            <a:r>
              <a:rPr lang="en-GB"/>
              <a:t> </a:t>
            </a:r>
            <a:r>
              <a:rPr lang="en-GB" err="1"/>
              <a:t>sensu</a:t>
            </a:r>
            <a:r>
              <a:rPr lang="en-GB"/>
              <a:t> </a:t>
            </a:r>
            <a:r>
              <a:rPr lang="en-GB" err="1"/>
              <a:t>carentibus</a:t>
            </a:r>
            <a:r>
              <a:rPr lang="en-GB"/>
              <a:t> </a:t>
            </a:r>
            <a:r>
              <a:rPr lang="en-GB" err="1"/>
              <a:t>adepturi</a:t>
            </a:r>
            <a:r>
              <a:rPr lang="en-GB"/>
              <a:t>, </a:t>
            </a:r>
            <a:r>
              <a:rPr lang="en-GB" err="1"/>
              <a:t>quam</a:t>
            </a:r>
            <a:r>
              <a:rPr lang="en-GB"/>
              <a:t> ex </a:t>
            </a:r>
            <a:r>
              <a:rPr lang="en-GB" err="1"/>
              <a:t>conscientia</a:t>
            </a:r>
            <a:r>
              <a:rPr lang="en-GB"/>
              <a:t> </a:t>
            </a:r>
            <a:r>
              <a:rPr lang="en-GB" err="1"/>
              <a:t>honeste</a:t>
            </a:r>
            <a:r>
              <a:rPr lang="en-GB"/>
              <a:t> </a:t>
            </a:r>
            <a:r>
              <a:rPr lang="en-GB" err="1"/>
              <a:t>recteque</a:t>
            </a:r>
            <a:r>
              <a:rPr lang="en-GB"/>
              <a:t> </a:t>
            </a:r>
            <a:r>
              <a:rPr lang="en-GB" err="1"/>
              <a:t>factorum</a:t>
            </a:r>
            <a:r>
              <a:rPr lang="en-GB"/>
              <a:t>, </a:t>
            </a:r>
            <a:r>
              <a:rPr lang="en-GB" err="1"/>
              <a:t>easque</a:t>
            </a:r>
            <a:r>
              <a:rPr lang="en-GB"/>
              <a:t> </a:t>
            </a:r>
            <a:r>
              <a:rPr lang="en-GB" err="1"/>
              <a:t>auro</a:t>
            </a:r>
            <a:r>
              <a:rPr lang="en-GB"/>
              <a:t> </a:t>
            </a:r>
            <a:r>
              <a:rPr lang="en-GB" err="1"/>
              <a:t>curant</a:t>
            </a:r>
            <a:r>
              <a:rPr lang="en-GB"/>
              <a:t> </a:t>
            </a:r>
            <a:r>
              <a:rPr lang="en-GB" err="1"/>
              <a:t>inbracteari</a:t>
            </a:r>
            <a:r>
              <a:rPr lang="en-GB"/>
              <a:t>, quod </a:t>
            </a:r>
            <a:r>
              <a:rPr lang="en-GB" err="1"/>
              <a:t>Acilio</a:t>
            </a:r>
            <a:r>
              <a:rPr lang="en-GB"/>
              <a:t> </a:t>
            </a:r>
            <a:r>
              <a:rPr lang="en-GB" err="1"/>
              <a:t>Glabrioni</a:t>
            </a:r>
            <a:r>
              <a:rPr lang="en-GB"/>
              <a:t> </a:t>
            </a:r>
            <a:r>
              <a:rPr lang="en-GB" err="1"/>
              <a:t>delatum</a:t>
            </a:r>
            <a:r>
              <a:rPr lang="en-GB"/>
              <a:t> </a:t>
            </a:r>
            <a:r>
              <a:rPr lang="en-GB" err="1"/>
              <a:t>est</a:t>
            </a:r>
            <a:r>
              <a:rPr lang="en-GB"/>
              <a:t> primo, cum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GB"/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err="1"/>
              <a:t>consiliis</a:t>
            </a:r>
            <a:r>
              <a:rPr lang="en-GB"/>
              <a:t> </a:t>
            </a:r>
            <a:r>
              <a:rPr lang="en-GB" err="1"/>
              <a:t>armisque</a:t>
            </a:r>
            <a:r>
              <a:rPr lang="en-GB"/>
              <a:t> </a:t>
            </a:r>
            <a:r>
              <a:rPr lang="en-GB" err="1"/>
              <a:t>regem</a:t>
            </a:r>
            <a:r>
              <a:rPr lang="en-GB"/>
              <a:t> </a:t>
            </a:r>
            <a:r>
              <a:rPr lang="en-GB" err="1"/>
              <a:t>superasset</a:t>
            </a:r>
            <a:r>
              <a:rPr lang="en-GB"/>
              <a:t> </a:t>
            </a:r>
            <a:r>
              <a:rPr lang="en-GB" err="1"/>
              <a:t>Antiochum</a:t>
            </a:r>
            <a:r>
              <a:rPr lang="en-GB"/>
              <a:t>. </a:t>
            </a:r>
            <a:r>
              <a:rPr lang="en-GB" err="1"/>
              <a:t>quam</a:t>
            </a:r>
            <a:r>
              <a:rPr lang="en-GB"/>
              <a:t> autem sit </a:t>
            </a:r>
            <a:r>
              <a:rPr lang="en-GB" err="1"/>
              <a:t>pulchrum</a:t>
            </a:r>
            <a:r>
              <a:rPr lang="en-GB"/>
              <a:t> </a:t>
            </a:r>
            <a:r>
              <a:rPr lang="en-GB" err="1"/>
              <a:t>exigua</a:t>
            </a:r>
            <a:r>
              <a:rPr lang="en-GB"/>
              <a:t> </a:t>
            </a:r>
            <a:r>
              <a:rPr lang="en-GB" err="1"/>
              <a:t>haec</a:t>
            </a:r>
            <a:r>
              <a:rPr lang="en-GB"/>
              <a:t> </a:t>
            </a:r>
            <a:r>
              <a:rPr lang="en-GB" err="1"/>
              <a:t>spernentem</a:t>
            </a:r>
            <a:r>
              <a:rPr lang="en-GB"/>
              <a:t> et minima ad </a:t>
            </a:r>
            <a:r>
              <a:rPr lang="en-GB" err="1"/>
              <a:t>ascensus</a:t>
            </a:r>
            <a:r>
              <a:rPr lang="en-GB"/>
              <a:t> </a:t>
            </a:r>
            <a:r>
              <a:rPr lang="en-GB" err="1"/>
              <a:t>verae</a:t>
            </a:r>
            <a:r>
              <a:rPr lang="en-GB"/>
              <a:t> </a:t>
            </a:r>
            <a:r>
              <a:rPr lang="en-GB" err="1"/>
              <a:t>gloriae</a:t>
            </a:r>
            <a:r>
              <a:rPr lang="en-GB"/>
              <a:t> </a:t>
            </a:r>
            <a:r>
              <a:rPr lang="en-GB" err="1"/>
              <a:t>tendere</a:t>
            </a:r>
            <a:r>
              <a:rPr lang="en-GB"/>
              <a:t> </a:t>
            </a:r>
            <a:r>
              <a:rPr lang="en-GB" err="1"/>
              <a:t>longos</a:t>
            </a:r>
            <a:r>
              <a:rPr lang="en-GB"/>
              <a:t> et </a:t>
            </a:r>
            <a:r>
              <a:rPr lang="en-GB" err="1"/>
              <a:t>arduos</a:t>
            </a:r>
            <a:r>
              <a:rPr lang="en-GB"/>
              <a:t>,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memorat</a:t>
            </a:r>
            <a:r>
              <a:rPr lang="en-GB"/>
              <a:t> </a:t>
            </a:r>
            <a:r>
              <a:rPr lang="en-GB" err="1"/>
              <a:t>vates</a:t>
            </a:r>
            <a:r>
              <a:rPr lang="en-GB"/>
              <a:t> </a:t>
            </a:r>
            <a:r>
              <a:rPr lang="en-GB" err="1"/>
              <a:t>Ascraeus</a:t>
            </a:r>
            <a:r>
              <a:rPr lang="en-GB"/>
              <a:t>, </a:t>
            </a:r>
            <a:r>
              <a:rPr lang="en-GB" err="1"/>
              <a:t>Censorius</a:t>
            </a:r>
            <a:r>
              <a:rPr lang="en-GB"/>
              <a:t> Cato </a:t>
            </a:r>
            <a:r>
              <a:rPr lang="en-GB" err="1"/>
              <a:t>monstravit</a:t>
            </a:r>
            <a:r>
              <a:rPr lang="en-GB"/>
              <a:t>. qui </a:t>
            </a:r>
            <a:r>
              <a:rPr lang="en-GB" err="1"/>
              <a:t>interrogatus</a:t>
            </a:r>
            <a:r>
              <a:rPr lang="en-GB"/>
              <a:t> </a:t>
            </a:r>
            <a:r>
              <a:rPr lang="en-GB" err="1"/>
              <a:t>quam</a:t>
            </a:r>
            <a:r>
              <a:rPr lang="en-GB"/>
              <a:t> </a:t>
            </a:r>
            <a:r>
              <a:rPr lang="en-GB" err="1"/>
              <a:t>ob</a:t>
            </a:r>
            <a:r>
              <a:rPr lang="en-GB"/>
              <a:t> rem inter </a:t>
            </a:r>
            <a:r>
              <a:rPr lang="en-GB" err="1"/>
              <a:t>multos</a:t>
            </a:r>
            <a:r>
              <a:rPr lang="en-GB"/>
              <a:t>... 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F726A094-BEC1-431D-A3E7-A9767786102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1295062" y="3008313"/>
            <a:ext cx="7138988" cy="71405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6AE9639-767F-16B9-1A00-E793D05D79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6671367" y="451127"/>
            <a:ext cx="2635034" cy="1040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1099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image" Target="../media/image6.png"/><Relationship Id="rId2" Type="http://schemas.openxmlformats.org/officeDocument/2006/relationships/slideLayout" Target="../slideLayouts/slideLayout19.xml"/><Relationship Id="rId16" Type="http://schemas.openxmlformats.org/officeDocument/2006/relationships/theme" Target="../theme/theme2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7" Type="http://schemas.openxmlformats.org/officeDocument/2006/relationships/theme" Target="../theme/theme3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217054" y="2183580"/>
            <a:ext cx="13669990" cy="7797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4950" b="1" i="0">
                <a:solidFill>
                  <a:srgbClr val="3F9BC9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1005205" y="2601150"/>
            <a:ext cx="18093690" cy="746417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6835394" y="10517696"/>
            <a:ext cx="6433312" cy="565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1005205" y="10517696"/>
            <a:ext cx="4623943" cy="565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6/22/2023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4474953" y="10517696"/>
            <a:ext cx="4623943" cy="5654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76" r:id="rId2"/>
    <p:sldLayoutId id="2147483678" r:id="rId3"/>
    <p:sldLayoutId id="2147483686" r:id="rId4"/>
    <p:sldLayoutId id="2147483690" r:id="rId5"/>
    <p:sldLayoutId id="2147483687" r:id="rId6"/>
    <p:sldLayoutId id="2147483679" r:id="rId7"/>
    <p:sldLayoutId id="2147483675" r:id="rId8"/>
    <p:sldLayoutId id="2147483688" r:id="rId9"/>
    <p:sldLayoutId id="2147483677" r:id="rId10"/>
    <p:sldLayoutId id="2147483689" r:id="rId11"/>
    <p:sldLayoutId id="2147483691" r:id="rId12"/>
    <p:sldLayoutId id="2147483661" r:id="rId13"/>
    <p:sldLayoutId id="2147483662" r:id="rId14"/>
    <p:sldLayoutId id="2147483663" r:id="rId15"/>
    <p:sldLayoutId id="2147483712" r:id="rId16"/>
    <p:sldLayoutId id="2147483672" r:id="rId17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BCAD918E-89E6-34C9-564F-762E09C64141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0" y="0"/>
            <a:ext cx="20104100" cy="11309350"/>
          </a:xfrm>
          <a:prstGeom prst="rect">
            <a:avLst/>
          </a:prstGeom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5A58BA3-C89E-A115-31E6-5DE9386A85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86356" y="905797"/>
            <a:ext cx="17931388" cy="724854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B60D13F-3FF6-D86C-4AB4-CE7C3E1C5B6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86355" y="3024952"/>
            <a:ext cx="17931390" cy="654872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/>
              <a:t>Plain text</a:t>
            </a:r>
          </a:p>
          <a:p>
            <a:pPr lvl="1"/>
            <a:r>
              <a:rPr lang="en-GB"/>
              <a:t>Bullet</a:t>
            </a:r>
          </a:p>
          <a:p>
            <a:pPr lvl="2"/>
            <a:r>
              <a:rPr lang="en-GB"/>
              <a:t>Sub-bullet</a:t>
            </a:r>
          </a:p>
          <a:p>
            <a:pPr lvl="3"/>
            <a:r>
              <a:rPr lang="en-GB"/>
              <a:t>Header #1</a:t>
            </a:r>
          </a:p>
          <a:p>
            <a:pPr lvl="4"/>
            <a:r>
              <a:rPr lang="en-GB"/>
              <a:t>Header #2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664503-F5D0-35B3-2017-D0A942613A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9383251" y="200029"/>
            <a:ext cx="511378" cy="28925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649">
                <a:solidFill>
                  <a:srgbClr val="FFFFFF"/>
                </a:solidFill>
              </a:defRPr>
            </a:lvl1pPr>
          </a:lstStyle>
          <a:p>
            <a:fld id="{0994303E-A424-9540-91A8-53B791C91E8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3102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2" r:id="rId10"/>
    <p:sldLayoutId id="2147483703" r:id="rId11"/>
    <p:sldLayoutId id="2147483704" r:id="rId12"/>
    <p:sldLayoutId id="2147483705" r:id="rId13"/>
    <p:sldLayoutId id="2147483706" r:id="rId14"/>
    <p:sldLayoutId id="2147483707" r:id="rId15"/>
  </p:sldLayoutIdLst>
  <p:hf hdr="0" ftr="0" dt="0"/>
  <p:txStyles>
    <p:titleStyle>
      <a:lvl1pPr algn="l" defTabSz="1507846" rtl="0" eaLnBrk="1" latinLnBrk="0" hangingPunct="1">
        <a:lnSpc>
          <a:spcPct val="80000"/>
        </a:lnSpc>
        <a:spcBef>
          <a:spcPct val="0"/>
        </a:spcBef>
        <a:buNone/>
        <a:defRPr sz="5936" b="1" kern="1200">
          <a:solidFill>
            <a:srgbClr val="FFFFFF"/>
          </a:solidFill>
          <a:latin typeface="+mj-lt"/>
          <a:ea typeface="+mj-ea"/>
          <a:cs typeface="Arial" panose="020B0604020202020204" pitchFamily="34" charset="0"/>
        </a:defRPr>
      </a:lvl1pPr>
    </p:titleStyle>
    <p:bodyStyle>
      <a:lvl1pPr marL="0" indent="0" algn="l" defTabSz="1507846" rtl="0" eaLnBrk="1" latinLnBrk="0" hangingPunct="1">
        <a:lnSpc>
          <a:spcPct val="100000"/>
        </a:lnSpc>
        <a:spcBef>
          <a:spcPts val="989"/>
        </a:spcBef>
        <a:spcAft>
          <a:spcPts val="989"/>
        </a:spcAft>
        <a:buClr>
          <a:srgbClr val="47DA86"/>
        </a:buClr>
        <a:buFont typeface="Arial" panose="020B0604020202020204" pitchFamily="34" charset="0"/>
        <a:buNone/>
        <a:tabLst/>
        <a:defRPr sz="2309" kern="1200">
          <a:solidFill>
            <a:srgbClr val="FFFFFF"/>
          </a:solidFill>
          <a:latin typeface="+mn-lt"/>
          <a:ea typeface="+mn-ea"/>
          <a:cs typeface="Arial" panose="020B0604020202020204" pitchFamily="34" charset="0"/>
        </a:defRPr>
      </a:lvl1pPr>
      <a:lvl2pPr marL="298428" indent="-298428" algn="l" defTabSz="1507846" rtl="0" eaLnBrk="1" latinLnBrk="0" hangingPunct="1">
        <a:lnSpc>
          <a:spcPct val="100000"/>
        </a:lnSpc>
        <a:spcBef>
          <a:spcPts val="989"/>
        </a:spcBef>
        <a:spcAft>
          <a:spcPts val="989"/>
        </a:spcAft>
        <a:buClr>
          <a:srgbClr val="47DA86"/>
        </a:buClr>
        <a:buFont typeface="Arial" panose="020B0604020202020204" pitchFamily="34" charset="0"/>
        <a:buChar char="•"/>
        <a:tabLst/>
        <a:defRPr sz="2309" kern="1200">
          <a:solidFill>
            <a:srgbClr val="FFFFFF"/>
          </a:solidFill>
          <a:latin typeface="+mn-lt"/>
          <a:ea typeface="+mn-ea"/>
          <a:cs typeface="Arial" panose="020B0604020202020204" pitchFamily="34" charset="0"/>
        </a:defRPr>
      </a:lvl2pPr>
      <a:lvl3pPr marL="596856" indent="-298428" algn="l" defTabSz="1507846" rtl="0" eaLnBrk="1" latinLnBrk="0" hangingPunct="1">
        <a:lnSpc>
          <a:spcPct val="100000"/>
        </a:lnSpc>
        <a:spcBef>
          <a:spcPts val="989"/>
        </a:spcBef>
        <a:spcAft>
          <a:spcPts val="989"/>
        </a:spcAft>
        <a:buClr>
          <a:srgbClr val="47DA86"/>
        </a:buClr>
        <a:buFont typeface="Verdana" panose="020B0604030504040204" pitchFamily="34" charset="0"/>
        <a:buChar char="–"/>
        <a:tabLst/>
        <a:defRPr sz="1979" kern="1200">
          <a:solidFill>
            <a:srgbClr val="FFFFFF"/>
          </a:solidFill>
          <a:latin typeface="+mn-lt"/>
          <a:ea typeface="+mn-ea"/>
          <a:cs typeface="Arial" panose="020B0604020202020204" pitchFamily="34" charset="0"/>
        </a:defRPr>
      </a:lvl3pPr>
      <a:lvl4pPr marL="0" indent="0" algn="l" defTabSz="1507846" rtl="0" eaLnBrk="1" latinLnBrk="0" hangingPunct="1">
        <a:lnSpc>
          <a:spcPct val="80000"/>
        </a:lnSpc>
        <a:spcBef>
          <a:spcPts val="1979"/>
        </a:spcBef>
        <a:spcAft>
          <a:spcPts val="495"/>
        </a:spcAft>
        <a:buClr>
          <a:srgbClr val="47DA86"/>
        </a:buClr>
        <a:buFont typeface="Arial" panose="020B0604020202020204" pitchFamily="34" charset="0"/>
        <a:buNone/>
        <a:tabLst/>
        <a:defRPr sz="2309" b="1" kern="1200" cap="all" baseline="0">
          <a:solidFill>
            <a:srgbClr val="FFFFFF"/>
          </a:solidFill>
          <a:latin typeface="+mn-lt"/>
          <a:ea typeface="+mn-ea"/>
          <a:cs typeface="Arial" panose="020B0604020202020204" pitchFamily="34" charset="0"/>
        </a:defRPr>
      </a:lvl4pPr>
      <a:lvl5pPr marL="0" indent="0" algn="l" defTabSz="1507846" rtl="0" eaLnBrk="1" latinLnBrk="0" hangingPunct="1">
        <a:lnSpc>
          <a:spcPct val="80000"/>
        </a:lnSpc>
        <a:spcBef>
          <a:spcPts val="1979"/>
        </a:spcBef>
        <a:spcAft>
          <a:spcPts val="495"/>
        </a:spcAft>
        <a:buClr>
          <a:srgbClr val="47DA86"/>
        </a:buClr>
        <a:buFont typeface="Arial" panose="020B0604020202020204" pitchFamily="34" charset="0"/>
        <a:buNone/>
        <a:tabLst/>
        <a:defRPr sz="3298" b="1" kern="1200">
          <a:solidFill>
            <a:schemeClr val="accent2"/>
          </a:solidFill>
          <a:latin typeface="+mn-lt"/>
          <a:ea typeface="+mn-ea"/>
          <a:cs typeface="Arial" panose="020B0604020202020204" pitchFamily="34" charset="0"/>
        </a:defRPr>
      </a:lvl5pPr>
      <a:lvl6pPr marL="4146575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900498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654421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408344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NL"/>
      </a:defPPr>
      <a:lvl1pPr marL="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923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846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768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691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614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3537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746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1382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265">
          <p15:clr>
            <a:srgbClr val="F26B43"/>
          </p15:clr>
        </p15:guide>
        <p15:guide id="3" orient="horz" pos="346">
          <p15:clr>
            <a:srgbClr val="A4A3A4"/>
          </p15:clr>
        </p15:guide>
        <p15:guide id="4" orient="horz" pos="3657">
          <p15:clr>
            <a:srgbClr val="F26B43"/>
          </p15:clr>
        </p15:guide>
        <p15:guide id="5" pos="415">
          <p15:clr>
            <a:srgbClr val="F26B43"/>
          </p15:clr>
        </p15:guide>
        <p15:guide id="6" pos="3636">
          <p15:clr>
            <a:srgbClr val="F26B43"/>
          </p15:clr>
        </p15:guide>
        <p15:guide id="7" pos="4044">
          <p15:clr>
            <a:srgbClr val="F26B43"/>
          </p15:clr>
        </p15:guide>
        <p15:guide id="8" orient="horz" pos="851">
          <p15:clr>
            <a:srgbClr val="A4A3A4"/>
          </p15:clr>
        </p15:guide>
        <p15:guide id="9" orient="horz" pos="114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32C8D0EF-1DB6-4ADC-8F31-5AE53BF5EAF4}"/>
              </a:ext>
            </a:extLst>
          </p:cNvPr>
          <p:cNvSpPr/>
          <p:nvPr userDrawn="1"/>
        </p:nvSpPr>
        <p:spPr>
          <a:xfrm>
            <a:off x="114231" y="110428"/>
            <a:ext cx="16343157" cy="1109389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4947" noProof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2F208ED-79A0-4B2C-A5EE-9D27466BCA3F}"/>
              </a:ext>
            </a:extLst>
          </p:cNvPr>
          <p:cNvSpPr/>
          <p:nvPr userDrawn="1"/>
        </p:nvSpPr>
        <p:spPr>
          <a:xfrm>
            <a:off x="18810947" y="10482093"/>
            <a:ext cx="1293154" cy="60211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4947" noProof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90F41A2-6535-4CA6-81E4-026A5B56D9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2350" y="712400"/>
            <a:ext cx="15167310" cy="7124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rtl="0"/>
            <a:r>
              <a:rPr lang="en-GB" noProof="0"/>
              <a:t>Click to edit page 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3AB95C-7DD4-4796-80E4-1B7466A2A03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2350" y="2493400"/>
            <a:ext cx="15167310" cy="771643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rtl="0"/>
            <a:r>
              <a:rPr lang="en-US" noProof="0"/>
              <a:t>Click to edit Master text styles</a:t>
            </a:r>
          </a:p>
          <a:p>
            <a:pPr lvl="1" rtl="0"/>
            <a:r>
              <a:rPr lang="en-US" noProof="0"/>
              <a:t>Second level</a:t>
            </a:r>
          </a:p>
          <a:p>
            <a:pPr lvl="2" rtl="0"/>
            <a:r>
              <a:rPr lang="en-US" noProof="0"/>
              <a:t>Third level</a:t>
            </a:r>
          </a:p>
          <a:p>
            <a:pPr lvl="3" rtl="0"/>
            <a:r>
              <a:rPr lang="en-US" noProof="0"/>
              <a:t>Fourth level</a:t>
            </a:r>
          </a:p>
          <a:p>
            <a:pPr lvl="4" rtl="0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879C91-B77F-4273-9A27-A3535FB889D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2350" y="10482093"/>
            <a:ext cx="6785134" cy="60211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979" i="1">
                <a:solidFill>
                  <a:schemeClr val="tx1">
                    <a:lumMod val="75000"/>
                    <a:lumOff val="2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rtl="0"/>
            <a:r>
              <a:rPr lang="en-GB" noProof="0"/>
              <a:t>Add a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ECA3099-A94F-4C3E-BC29-780EDD38F72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8876454" y="10556960"/>
            <a:ext cx="459100" cy="45238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979" i="1">
                <a:solidFill>
                  <a:schemeClr val="bg1"/>
                </a:solidFill>
              </a:defRPr>
            </a:lvl1pPr>
          </a:lstStyle>
          <a:p>
            <a:pPr rtl="0"/>
            <a:fld id="{19B51A1E-902D-48AF-9020-955120F399B6}" type="slidenum">
              <a:rPr lang="en-GB" noProof="0" smtClean="0"/>
              <a:pPr rtl="0"/>
              <a:t>‹#›</a:t>
            </a:fld>
            <a:endParaRPr lang="en-GB" noProof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4FDC6F9-37F9-4E25-AECA-D307B8421C73}"/>
              </a:ext>
            </a:extLst>
          </p:cNvPr>
          <p:cNvSpPr txBox="1"/>
          <p:nvPr userDrawn="1"/>
        </p:nvSpPr>
        <p:spPr>
          <a:xfrm>
            <a:off x="15879660" y="10465202"/>
            <a:ext cx="2741469" cy="370477"/>
          </a:xfrm>
          <a:prstGeom prst="rect">
            <a:avLst/>
          </a:prstGeom>
          <a:noFill/>
        </p:spPr>
        <p:txBody>
          <a:bodyPr wrap="square" lIns="0" tIns="59363" rIns="0" bIns="0" rtlCol="0">
            <a:spAutoFit/>
          </a:bodyPr>
          <a:lstStyle/>
          <a:p>
            <a:pPr algn="r" rtl="0">
              <a:lnSpc>
                <a:spcPts val="2309"/>
              </a:lnSpc>
            </a:pPr>
            <a:r>
              <a:rPr lang="en-GB" sz="2638" b="1" spc="-165" noProof="0">
                <a:solidFill>
                  <a:schemeClr val="tx1">
                    <a:lumMod val="50000"/>
                    <a:lumOff val="50000"/>
                  </a:schemeClr>
                </a:solidFill>
                <a:latin typeface="Corbel" panose="020B0503020204020204" pitchFamily="34" charset="0"/>
              </a:rPr>
              <a:t>WOODGROVE</a:t>
            </a:r>
            <a:r>
              <a:rPr lang="en-GB" sz="2638" b="1" spc="-165" noProof="0">
                <a:solidFill>
                  <a:schemeClr val="tx1"/>
                </a:solidFill>
                <a:latin typeface="Corbel" panose="020B0503020204020204" pitchFamily="34" charset="0"/>
              </a:rPr>
              <a:t>BANK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B322F68-670D-45A0-A54F-7E70BCEAED3F}"/>
              </a:ext>
            </a:extLst>
          </p:cNvPr>
          <p:cNvSpPr/>
          <p:nvPr userDrawn="1"/>
        </p:nvSpPr>
        <p:spPr>
          <a:xfrm>
            <a:off x="0" y="11204320"/>
            <a:ext cx="16457389" cy="10503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4947" noProof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E69B5F15-353A-4344-8D61-F4E25AA9FB6C}"/>
              </a:ext>
            </a:extLst>
          </p:cNvPr>
          <p:cNvSpPr/>
          <p:nvPr userDrawn="1"/>
        </p:nvSpPr>
        <p:spPr>
          <a:xfrm>
            <a:off x="0" y="1"/>
            <a:ext cx="16457389" cy="10503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4947" noProof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FA0C0AA-FCE8-4A7F-928A-54C96BBA9053}"/>
              </a:ext>
            </a:extLst>
          </p:cNvPr>
          <p:cNvSpPr/>
          <p:nvPr userDrawn="1"/>
        </p:nvSpPr>
        <p:spPr>
          <a:xfrm rot="5400000">
            <a:off x="-5571303" y="5623817"/>
            <a:ext cx="11256839" cy="11423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GB" sz="4947" noProof="0"/>
          </a:p>
        </p:txBody>
      </p:sp>
    </p:spTree>
    <p:extLst>
      <p:ext uri="{BB962C8B-B14F-4D97-AF65-F5344CB8AC3E}">
        <p14:creationId xmlns:p14="http://schemas.microsoft.com/office/powerpoint/2010/main" val="946163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9" r:id="rId2"/>
    <p:sldLayoutId id="2147483660" r:id="rId3"/>
    <p:sldLayoutId id="2147483654" r:id="rId4"/>
    <p:sldLayoutId id="2147483658" r:id="rId5"/>
    <p:sldLayoutId id="2147483649" r:id="rId6"/>
  </p:sldLayoutIdLst>
  <p:hf hdr="0" ftr="0" dt="0"/>
  <p:txStyles>
    <p:titleStyle>
      <a:lvl1pPr algn="l" defTabSz="1507846" rtl="0" eaLnBrk="1" latinLnBrk="0" hangingPunct="1">
        <a:lnSpc>
          <a:spcPct val="90000"/>
        </a:lnSpc>
        <a:spcBef>
          <a:spcPct val="0"/>
        </a:spcBef>
        <a:buNone/>
        <a:defRPr sz="5277" b="1" kern="1200" cap="all" spc="-247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39788" indent="-439788" algn="l" defTabSz="1507846" rtl="0" eaLnBrk="1" latinLnBrk="0" hangingPunct="1">
        <a:lnSpc>
          <a:spcPct val="90000"/>
        </a:lnSpc>
        <a:spcBef>
          <a:spcPts val="1649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895283" indent="-455495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638" kern="1200">
          <a:solidFill>
            <a:schemeClr val="tx1"/>
          </a:solidFill>
          <a:latin typeface="+mn-lt"/>
          <a:ea typeface="+mn-ea"/>
          <a:cs typeface="+mn-cs"/>
        </a:defRPr>
      </a:lvl2pPr>
      <a:lvl3pPr marL="1335072" indent="-439788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309" kern="1200">
          <a:solidFill>
            <a:schemeClr val="tx1"/>
          </a:solidFill>
          <a:latin typeface="+mn-lt"/>
          <a:ea typeface="+mn-ea"/>
          <a:cs typeface="+mn-cs"/>
        </a:defRPr>
      </a:lvl3pPr>
      <a:lvl4pPr marL="1774860" indent="-439788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309" kern="1200">
          <a:solidFill>
            <a:schemeClr val="tx1"/>
          </a:solidFill>
          <a:latin typeface="+mn-lt"/>
          <a:ea typeface="+mn-ea"/>
          <a:cs typeface="+mn-cs"/>
        </a:defRPr>
      </a:lvl4pPr>
      <a:lvl5pPr marL="2214648" indent="-439788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309" kern="1200">
          <a:solidFill>
            <a:schemeClr val="tx1"/>
          </a:solidFill>
          <a:latin typeface="+mn-lt"/>
          <a:ea typeface="+mn-ea"/>
          <a:cs typeface="+mn-cs"/>
        </a:defRPr>
      </a:lvl5pPr>
      <a:lvl6pPr marL="4146575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900498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654421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408344" indent="-376961" algn="l" defTabSz="1507846" rtl="0" eaLnBrk="1" latinLnBrk="0" hangingPunct="1">
        <a:lnSpc>
          <a:spcPct val="90000"/>
        </a:lnSpc>
        <a:spcBef>
          <a:spcPts val="824"/>
        </a:spcBef>
        <a:buFont typeface="Arial" panose="020B0604020202020204" pitchFamily="34" charset="0"/>
        <a:buChar char="•"/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1pPr>
      <a:lvl2pPr marL="753923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2pPr>
      <a:lvl3pPr marL="1507846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3pPr>
      <a:lvl4pPr marL="2261768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4pPr>
      <a:lvl5pPr marL="3015691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5pPr>
      <a:lvl6pPr marL="3769614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6pPr>
      <a:lvl7pPr marL="4523537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7pPr>
      <a:lvl8pPr marL="5277460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8pPr>
      <a:lvl9pPr marL="6031382" algn="l" defTabSz="1507846" rtl="0" eaLnBrk="1" latinLnBrk="0" hangingPunct="1">
        <a:defRPr sz="29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11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4" Type="http://schemas.openxmlformats.org/officeDocument/2006/relationships/image" Target="../media/image16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7" Type="http://schemas.openxmlformats.org/officeDocument/2006/relationships/image" Target="../media/image23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3.xml"/><Relationship Id="rId6" Type="http://schemas.openxmlformats.org/officeDocument/2006/relationships/image" Target="../media/image22.png"/><Relationship Id="rId5" Type="http://schemas.openxmlformats.org/officeDocument/2006/relationships/image" Target="../media/image21.svg"/><Relationship Id="rId4" Type="http://schemas.openxmlformats.org/officeDocument/2006/relationships/image" Target="../media/image2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TextBox 33">
            <a:extLst>
              <a:ext uri="{FF2B5EF4-FFF2-40B4-BE49-F238E27FC236}">
                <a16:creationId xmlns:a16="http://schemas.microsoft.com/office/drawing/2014/main" id="{724CFC56-AE5C-448B-9F72-F57F297529F4}"/>
              </a:ext>
            </a:extLst>
          </p:cNvPr>
          <p:cNvSpPr txBox="1"/>
          <p:nvPr/>
        </p:nvSpPr>
        <p:spPr>
          <a:xfrm>
            <a:off x="6456479" y="9120939"/>
            <a:ext cx="719114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 fontAlgn="base">
              <a:spcBef>
                <a:spcPts val="2400"/>
              </a:spcBef>
            </a:pPr>
            <a:r>
              <a:rPr lang="en-US" sz="3200">
                <a:solidFill>
                  <a:srgbClr val="404040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Jyoti </a:t>
            </a:r>
            <a:r>
              <a:rPr lang="en-US" sz="3200" err="1">
                <a:solidFill>
                  <a:srgbClr val="404040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Macwan</a:t>
            </a:r>
            <a:br>
              <a:rPr lang="en-US" sz="3200">
                <a:solidFill>
                  <a:srgbClr val="404040"/>
                </a:solidFill>
                <a:ea typeface="Roboto Light" panose="02000000000000000000" pitchFamily="2" charset="0"/>
              </a:rPr>
            </a:br>
            <a:r>
              <a:rPr lang="en-US" sz="3200">
                <a:solidFill>
                  <a:srgbClr val="404040"/>
                </a:solidFill>
                <a:ea typeface="Roboto Light" panose="02000000000000000000" pitchFamily="2" charset="0"/>
              </a:rPr>
              <a:t>Secretary-General, SEWA</a:t>
            </a:r>
            <a:r>
              <a:rPr lang="en-US" sz="3200" i="0">
                <a:solidFill>
                  <a:srgbClr val="000000"/>
                </a:solidFill>
                <a:effectLst/>
                <a:ea typeface="Roboto Light" panose="02000000000000000000" pitchFamily="2" charset="0"/>
              </a:rPr>
              <a:t>​</a:t>
            </a:r>
            <a:endParaRPr lang="en-US" sz="3200" u="none" strike="noStrike">
              <a:solidFill>
                <a:srgbClr val="404040"/>
              </a:solidFill>
              <a:effectLst/>
              <a:ea typeface="Roboto Bold" panose="02000000000000000000" pitchFamily="2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07A362E-A2F9-F792-72E7-60B4958A51F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19564" y="610853"/>
            <a:ext cx="3834079" cy="151373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AC1603E2-7225-D631-0A5D-4EF9652B2B0C}"/>
              </a:ext>
            </a:extLst>
          </p:cNvPr>
          <p:cNvSpPr txBox="1"/>
          <p:nvPr/>
        </p:nvSpPr>
        <p:spPr>
          <a:xfrm>
            <a:off x="3777405" y="3994127"/>
            <a:ext cx="271042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 fontAlgn="base"/>
            <a:r>
              <a:rPr lang="en-US" sz="2800">
                <a:solidFill>
                  <a:srgbClr val="3F9BC9"/>
                </a:solidFill>
                <a:ea typeface="Roboto Light" panose="02000000000000000000" pitchFamily="2" charset="0"/>
              </a:rPr>
              <a:t>With Speaker:</a:t>
            </a:r>
            <a:endParaRPr lang="en-US" sz="2800" i="0">
              <a:solidFill>
                <a:srgbClr val="3F9BC9"/>
              </a:solidFill>
              <a:effectLst/>
              <a:ea typeface="Roboto Light" panose="02000000000000000000" pitchFamily="2" charset="0"/>
            </a:endParaRP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B319EF2E-A3E0-7DF1-ABA5-A7D1DBBD2944}"/>
              </a:ext>
            </a:extLst>
          </p:cNvPr>
          <p:cNvCxnSpPr>
            <a:cxnSpLocks/>
          </p:cNvCxnSpPr>
          <p:nvPr/>
        </p:nvCxnSpPr>
        <p:spPr>
          <a:xfrm>
            <a:off x="4478437" y="3336303"/>
            <a:ext cx="15625663" cy="0"/>
          </a:xfrm>
          <a:prstGeom prst="line">
            <a:avLst/>
          </a:prstGeom>
          <a:ln w="63500" cap="rnd">
            <a:solidFill>
              <a:srgbClr val="3F9BC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18">
            <a:extLst>
              <a:ext uri="{FF2B5EF4-FFF2-40B4-BE49-F238E27FC236}">
                <a16:creationId xmlns:a16="http://schemas.microsoft.com/office/drawing/2014/main" id="{01A05EAE-9924-A096-762A-25AD3271E03A}"/>
              </a:ext>
            </a:extLst>
          </p:cNvPr>
          <p:cNvSpPr txBox="1">
            <a:spLocks/>
          </p:cNvSpPr>
          <p:nvPr/>
        </p:nvSpPr>
        <p:spPr>
          <a:xfrm>
            <a:off x="6067377" y="593978"/>
            <a:ext cx="13501445" cy="12926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>
              <a:defRPr sz="4000" b="1">
                <a:solidFill>
                  <a:srgbClr val="449BCC"/>
                </a:solidFill>
                <a:latin typeface="Comfortaa" pitchFamily="2" charset="0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en-GB" sz="4800" kern="0"/>
              <a:t>Communities’ Wellbeing and Sustainable Livelihoods</a:t>
            </a:r>
          </a:p>
          <a:p>
            <a:r>
              <a:rPr lang="en-GB" sz="3600" kern="0"/>
              <a:t>Plenary</a:t>
            </a:r>
            <a:endParaRPr lang="en-GB" kern="0"/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DB19D8FE-B649-8745-B5DA-03209BD04D6F}"/>
              </a:ext>
            </a:extLst>
          </p:cNvPr>
          <p:cNvSpPr txBox="1"/>
          <p:nvPr/>
        </p:nvSpPr>
        <p:spPr>
          <a:xfrm>
            <a:off x="6035489" y="2625303"/>
            <a:ext cx="100584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 rtl="0" fontAlgn="base"/>
            <a:r>
              <a:rPr lang="en-US" sz="3200" i="0" u="none" strike="noStrike">
                <a:solidFill>
                  <a:srgbClr val="3F9BC9"/>
                </a:solidFill>
                <a:effectLst/>
                <a:ea typeface="Roboto Light" panose="02000000000000000000" pitchFamily="2" charset="0"/>
              </a:rPr>
              <a:t>Wednesday 21 June</a:t>
            </a:r>
            <a:endParaRPr lang="en-US" sz="3200" i="0">
              <a:solidFill>
                <a:srgbClr val="3F9BC9"/>
              </a:solidFill>
              <a:effectLst/>
              <a:ea typeface="Roboto Light" panose="02000000000000000000" pitchFamily="2" charset="0"/>
            </a:endParaRP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5EBB19C-1B0E-907B-2647-2686565B299C}"/>
              </a:ext>
            </a:extLst>
          </p:cNvPr>
          <p:cNvGrpSpPr/>
          <p:nvPr/>
        </p:nvGrpSpPr>
        <p:grpSpPr>
          <a:xfrm>
            <a:off x="7968704" y="4332385"/>
            <a:ext cx="4352186" cy="4331082"/>
            <a:chOff x="1010451" y="5579789"/>
            <a:chExt cx="4003495" cy="3977974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7FBE0CB-3604-77AB-EA8B-AC77429D19A9}"/>
                </a:ext>
              </a:extLst>
            </p:cNvPr>
            <p:cNvSpPr/>
            <p:nvPr/>
          </p:nvSpPr>
          <p:spPr>
            <a:xfrm>
              <a:off x="1010451" y="6247963"/>
              <a:ext cx="3423346" cy="3309800"/>
            </a:xfrm>
            <a:prstGeom prst="rect">
              <a:avLst/>
            </a:prstGeom>
            <a:gradFill>
              <a:gsLst>
                <a:gs pos="0">
                  <a:srgbClr val="3F9BC9"/>
                </a:gs>
                <a:gs pos="100000">
                  <a:srgbClr val="219683"/>
                </a:gs>
              </a:gsLst>
              <a:lin ang="540000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E2313128-1037-5479-D617-B3E90F40577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9294" b="9294"/>
            <a:stretch/>
          </p:blipFill>
          <p:spPr>
            <a:xfrm>
              <a:off x="1792889" y="5579789"/>
              <a:ext cx="3221057" cy="3309800"/>
            </a:xfrm>
            <a:prstGeom prst="rect">
              <a:avLst/>
            </a:prstGeom>
            <a:ln w="152400">
              <a:solidFill>
                <a:srgbClr val="FFFFFF"/>
              </a:solidFill>
              <a:miter lim="800000"/>
            </a:ln>
          </p:spPr>
        </p:pic>
      </p:grpSp>
    </p:spTree>
    <p:extLst>
      <p:ext uri="{BB962C8B-B14F-4D97-AF65-F5344CB8AC3E}">
        <p14:creationId xmlns:p14="http://schemas.microsoft.com/office/powerpoint/2010/main" val="28694636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6" descr="Wood piece cut through the middle">
            <a:extLst>
              <a:ext uri="{FF2B5EF4-FFF2-40B4-BE49-F238E27FC236}">
                <a16:creationId xmlns:a16="http://schemas.microsoft.com/office/drawing/2014/main" id="{C0BA96B3-F713-41B0-A2E3-15E9039E4743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457389" y="397"/>
            <a:ext cx="3646711" cy="11308556"/>
          </a:xfr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00B3D2B-613A-41BE-987D-E6A1324B456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rtlCol="0"/>
          <a:lstStyle/>
          <a:p>
            <a:pPr rtl="0"/>
            <a:r>
              <a:rPr lang="en-GB"/>
              <a:t>WELLBEING AND </a:t>
            </a:r>
            <a:r>
              <a:rPr lang="en-GB">
                <a:solidFill>
                  <a:srgbClr val="C00000"/>
                </a:solidFill>
              </a:rPr>
              <a:t>SUSTAINABLE</a:t>
            </a:r>
            <a:br>
              <a:rPr lang="en-GB">
                <a:solidFill>
                  <a:srgbClr val="C00000"/>
                </a:solidFill>
              </a:rPr>
            </a:br>
            <a:r>
              <a:rPr lang="en-GB">
                <a:solidFill>
                  <a:srgbClr val="C00000"/>
                </a:solidFill>
              </a:rPr>
              <a:t>LiveliHOODS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239A85C7-E917-00BB-0F36-94C7D1D3D52E}"/>
              </a:ext>
            </a:extLst>
          </p:cNvPr>
          <p:cNvSpPr txBox="1">
            <a:spLocks/>
          </p:cNvSpPr>
          <p:nvPr/>
        </p:nvSpPr>
        <p:spPr>
          <a:xfrm>
            <a:off x="3858522" y="9745782"/>
            <a:ext cx="7418662" cy="1199700"/>
          </a:xfrm>
          <a:prstGeom prst="rect">
            <a:avLst/>
          </a:prstGeom>
        </p:spPr>
        <p:txBody>
          <a:bodyPr rtlCol="0"/>
          <a:lstStyle>
            <a:lvl1pPr marL="266700" indent="-2667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2925" indent="-27622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9625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6325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3025" indent="-2667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968"/>
              <a:t>Better Cotton Conference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AB53231-C954-8F3D-5658-3AE405E0CD1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932" r="61981"/>
          <a:stretch/>
        </p:blipFill>
        <p:spPr>
          <a:xfrm>
            <a:off x="14662471" y="397"/>
            <a:ext cx="5441630" cy="11308556"/>
          </a:xfrm>
          <a:prstGeom prst="rect">
            <a:avLst/>
          </a:prstGeom>
        </p:spPr>
      </p:pic>
      <p:sp>
        <p:nvSpPr>
          <p:cNvPr id="4" name="Subtitle 3">
            <a:extLst>
              <a:ext uri="{FF2B5EF4-FFF2-40B4-BE49-F238E27FC236}">
                <a16:creationId xmlns:a16="http://schemas.microsoft.com/office/drawing/2014/main" id="{4772945D-CA91-4CFE-8EB7-941C7618C99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rtlCol="0"/>
          <a:lstStyle/>
          <a:p>
            <a:endParaRPr lang="en-GB"/>
          </a:p>
          <a:p>
            <a:r>
              <a:rPr lang="en-GB" i="0"/>
              <a:t>Jyoti </a:t>
            </a:r>
            <a:r>
              <a:rPr lang="en-GB" i="0" err="1"/>
              <a:t>Macwan</a:t>
            </a:r>
            <a:r>
              <a:rPr lang="en-GB" i="0"/>
              <a:t>, Secretary-General Self-Employed Women’s Association (SEWA)</a:t>
            </a:r>
          </a:p>
          <a:p>
            <a:pPr rt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6555092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 descr="Abstract architecture polygon">
            <a:extLst>
              <a:ext uri="{FF2B5EF4-FFF2-40B4-BE49-F238E27FC236}">
                <a16:creationId xmlns:a16="http://schemas.microsoft.com/office/drawing/2014/main" id="{38475F7B-316A-47DC-9CBB-B074A5B5994C}"/>
              </a:ext>
            </a:extLst>
          </p:cNvPr>
          <p:cNvPicPr>
            <a:picLocks noGrp="1" noChangeAspect="1"/>
          </p:cNvPicPr>
          <p:nvPr>
            <p:ph type="pic" sz="quarter" idx="33"/>
          </p:nvPr>
        </p:nvPicPr>
        <p:blipFill>
          <a:blip r:embed="rId3"/>
          <a:stretch>
            <a:fillRect/>
          </a:stretch>
        </p:blipFill>
        <p:spPr>
          <a:xfrm>
            <a:off x="16457389" y="2186"/>
            <a:ext cx="3646711" cy="10206772"/>
          </a:xfr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560F281-4FF6-4617-A809-AC9C15ECF1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41592" y="3371692"/>
            <a:ext cx="8549705" cy="712350"/>
          </a:xfrm>
        </p:spPr>
        <p:txBody>
          <a:bodyPr rtlCol="0"/>
          <a:lstStyle/>
          <a:p>
            <a:pPr rtl="0"/>
            <a:r>
              <a:rPr lang="en-GB"/>
              <a:t>About U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11DC577-0A95-47D0-95D9-5F8DA763D46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572635" y="4505722"/>
            <a:ext cx="7418662" cy="1199700"/>
          </a:xfrm>
        </p:spPr>
        <p:txBody>
          <a:bodyPr rtlCol="0"/>
          <a:lstStyle/>
          <a:p>
            <a:r>
              <a:rPr lang="en-GB" i="0"/>
              <a:t>Established in 1972 as a trade union, SEWA has grown to become a member-based organisation of more than 2.5 million women</a:t>
            </a:r>
          </a:p>
          <a:p>
            <a:pPr rtl="0"/>
            <a:r>
              <a:rPr lang="en-GB" i="0"/>
              <a:t>.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355C61F-C8F1-4977-8E1F-F16C0D9EA88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340121" y="6034100"/>
            <a:ext cx="8549519" cy="4032528"/>
          </a:xfrm>
        </p:spPr>
        <p:txBody>
          <a:bodyPr rtlCol="0"/>
          <a:lstStyle/>
          <a:p>
            <a:r>
              <a:rPr lang="en-GB"/>
              <a:t>Founded in Ahmedabad, Gujarat</a:t>
            </a:r>
          </a:p>
          <a:p>
            <a:r>
              <a:rPr lang="en-GB"/>
              <a:t>Need-based and demand-driven approach</a:t>
            </a:r>
          </a:p>
          <a:p>
            <a:r>
              <a:rPr lang="en-GB"/>
              <a:t>Over 50% of members from agriculture</a:t>
            </a:r>
          </a:p>
          <a:p>
            <a:r>
              <a:rPr lang="en-GB"/>
              <a:t>Support workers to advance careers</a:t>
            </a:r>
          </a:p>
          <a:p>
            <a:r>
              <a:rPr lang="en-GB"/>
              <a:t>Provide access to healthcare, childcare, insurance, housing and legal services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C554D9F-1895-486E-BFBA-905BB2D29E08}"/>
              </a:ext>
            </a:extLst>
          </p:cNvPr>
          <p:cNvSpPr>
            <a:spLocks noGrp="1"/>
          </p:cNvSpPr>
          <p:nvPr>
            <p:ph type="sldNum" sz="quarter" idx="34"/>
          </p:nvPr>
        </p:nvSpPr>
        <p:spPr/>
        <p:txBody>
          <a:bodyPr rtlCol="0"/>
          <a:lstStyle/>
          <a:p>
            <a:pPr rtl="0"/>
            <a:fld id="{19B51A1E-902D-48AF-9020-955120F399B6}" type="slidenum">
              <a:rPr lang="en-GB" smtClean="0"/>
              <a:pPr rtl="0"/>
              <a:t>3</a:t>
            </a:fld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34DB979-BC70-DF21-C221-1FA522EA50E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200" t="756" r="47084" b="2066"/>
          <a:stretch/>
        </p:blipFill>
        <p:spPr>
          <a:xfrm flipH="1">
            <a:off x="14404020" y="399"/>
            <a:ext cx="5697237" cy="11308555"/>
          </a:xfrm>
          <a:prstGeom prst="rect">
            <a:avLst/>
          </a:prstGeom>
        </p:spPr>
      </p:pic>
      <p:sp>
        <p:nvSpPr>
          <p:cNvPr id="7" name="Minus Sign 6">
            <a:extLst>
              <a:ext uri="{FF2B5EF4-FFF2-40B4-BE49-F238E27FC236}">
                <a16:creationId xmlns:a16="http://schemas.microsoft.com/office/drawing/2014/main" id="{061B1EA8-A730-3E5D-7F51-5EE7C73A6CFB}"/>
              </a:ext>
            </a:extLst>
          </p:cNvPr>
          <p:cNvSpPr/>
          <p:nvPr/>
        </p:nvSpPr>
        <p:spPr>
          <a:xfrm>
            <a:off x="7309086" y="3963252"/>
            <a:ext cx="8121619" cy="378131"/>
          </a:xfrm>
          <a:prstGeom prst="mathMinus">
            <a:avLst>
              <a:gd name="adj1" fmla="val 2352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947"/>
          </a:p>
        </p:txBody>
      </p:sp>
    </p:spTree>
    <p:extLst>
      <p:ext uri="{BB962C8B-B14F-4D97-AF65-F5344CB8AC3E}">
        <p14:creationId xmlns:p14="http://schemas.microsoft.com/office/powerpoint/2010/main" val="90097502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1CD83DE3-3D02-23CE-6D9B-59E7A0717183}"/>
              </a:ext>
            </a:extLst>
          </p:cNvPr>
          <p:cNvSpPr/>
          <p:nvPr/>
        </p:nvSpPr>
        <p:spPr>
          <a:xfrm>
            <a:off x="712022" y="7854104"/>
            <a:ext cx="7743043" cy="27425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947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23FB4D5-DA14-4F29-9320-2DE0A6B571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en-GB"/>
              <a:t>Our APPROACH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0A34EBD-7DEA-4599-A81B-0A363A0E17FC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>
          <a:xfrm>
            <a:off x="18876454" y="10556616"/>
            <a:ext cx="459100" cy="452349"/>
          </a:xfrm>
        </p:spPr>
        <p:txBody>
          <a:bodyPr rtlCol="0"/>
          <a:lstStyle/>
          <a:p>
            <a:pPr rtl="0"/>
            <a:fld id="{19B51A1E-902D-48AF-9020-955120F399B6}" type="slidenum">
              <a:rPr lang="en-GB" smtClean="0"/>
              <a:pPr rtl="0"/>
              <a:t>4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0FA8680-9F36-6CE3-C750-B37B51B3BD3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712022" y="2272554"/>
            <a:ext cx="15167310" cy="593625"/>
          </a:xfrm>
        </p:spPr>
        <p:txBody>
          <a:bodyPr/>
          <a:lstStyle/>
          <a:p>
            <a:r>
              <a:rPr lang="en-GB" i="0"/>
              <a:t>SEWA adopts a holistic and integrated approach…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0710E4D5-29E7-0429-7661-066D9FB6695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31205880"/>
              </p:ext>
            </p:extLst>
          </p:nvPr>
        </p:nvGraphicFramePr>
        <p:xfrm>
          <a:off x="6612364" y="1425098"/>
          <a:ext cx="14569127" cy="94694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66C94876-1E94-DB42-7372-30EEA9D4EF54}"/>
              </a:ext>
            </a:extLst>
          </p:cNvPr>
          <p:cNvSpPr txBox="1"/>
          <p:nvPr/>
        </p:nvSpPr>
        <p:spPr>
          <a:xfrm>
            <a:off x="14605776" y="4008570"/>
            <a:ext cx="3266916" cy="7014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958"/>
              <a:t>Organising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45641020-5A0F-CFB2-E3F0-5BC8FF3B4B3E}"/>
              </a:ext>
            </a:extLst>
          </p:cNvPr>
          <p:cNvSpPr txBox="1"/>
          <p:nvPr/>
        </p:nvSpPr>
        <p:spPr>
          <a:xfrm>
            <a:off x="10944517" y="3725076"/>
            <a:ext cx="2794913" cy="13104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958"/>
              <a:t>Capacity Building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1208126-43D3-A347-832B-01C9EC1050F8}"/>
              </a:ext>
            </a:extLst>
          </p:cNvPr>
          <p:cNvSpPr txBox="1"/>
          <p:nvPr/>
        </p:nvSpPr>
        <p:spPr>
          <a:xfrm>
            <a:off x="10944516" y="7353310"/>
            <a:ext cx="2641742" cy="13104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958"/>
              <a:t>Social Protection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B4464C9-C969-FF4D-37BE-EBD2C9BA5698}"/>
              </a:ext>
            </a:extLst>
          </p:cNvPr>
          <p:cNvSpPr txBox="1"/>
          <p:nvPr/>
        </p:nvSpPr>
        <p:spPr>
          <a:xfrm>
            <a:off x="14605776" y="7353310"/>
            <a:ext cx="3266916" cy="13104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958"/>
              <a:t>Capital Forma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31CEEAC-5CA2-B2B4-DDC2-687AEA85DE2C}"/>
              </a:ext>
            </a:extLst>
          </p:cNvPr>
          <p:cNvSpPr txBox="1"/>
          <p:nvPr/>
        </p:nvSpPr>
        <p:spPr>
          <a:xfrm>
            <a:off x="1315138" y="8235706"/>
            <a:ext cx="7463302" cy="1919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3958">
                <a:solidFill>
                  <a:schemeClr val="bg1"/>
                </a:solidFill>
              </a:rPr>
              <a:t>“</a:t>
            </a:r>
            <a:r>
              <a:rPr lang="en-GB" sz="3958">
                <a:solidFill>
                  <a:srgbClr val="C00000"/>
                </a:solidFill>
              </a:rPr>
              <a:t>Poverty</a:t>
            </a:r>
            <a:r>
              <a:rPr lang="en-GB" sz="3958">
                <a:solidFill>
                  <a:srgbClr val="000000"/>
                </a:solidFill>
              </a:rPr>
              <a:t> </a:t>
            </a:r>
            <a:r>
              <a:rPr lang="en-GB" sz="3958">
                <a:solidFill>
                  <a:schemeClr val="bg1"/>
                </a:solidFill>
              </a:rPr>
              <a:t>is a form of </a:t>
            </a:r>
            <a:r>
              <a:rPr lang="en-GB" sz="3958">
                <a:solidFill>
                  <a:srgbClr val="C00000"/>
                </a:solidFill>
              </a:rPr>
              <a:t>violence </a:t>
            </a:r>
            <a:r>
              <a:rPr lang="en-GB" sz="3958">
                <a:solidFill>
                  <a:schemeClr val="bg1"/>
                </a:solidFill>
              </a:rPr>
              <a:t>perpetuated by the consent of society”</a:t>
            </a:r>
            <a:r>
              <a:rPr lang="en-US" sz="3958">
                <a:solidFill>
                  <a:schemeClr val="bg1"/>
                </a:solidFill>
              </a:rPr>
              <a:t>​</a:t>
            </a:r>
            <a:endParaRPr lang="en-GB" sz="4947"/>
          </a:p>
        </p:txBody>
      </p:sp>
      <p:sp>
        <p:nvSpPr>
          <p:cNvPr id="3" name="Minus Sign 2">
            <a:extLst>
              <a:ext uri="{FF2B5EF4-FFF2-40B4-BE49-F238E27FC236}">
                <a16:creationId xmlns:a16="http://schemas.microsoft.com/office/drawing/2014/main" id="{EC523D16-83CC-88B0-DDEB-2A662C913203}"/>
              </a:ext>
            </a:extLst>
          </p:cNvPr>
          <p:cNvSpPr/>
          <p:nvPr/>
        </p:nvSpPr>
        <p:spPr>
          <a:xfrm>
            <a:off x="-1222259" y="1349185"/>
            <a:ext cx="9096367" cy="378131"/>
          </a:xfrm>
          <a:prstGeom prst="mathMinus">
            <a:avLst>
              <a:gd name="adj1" fmla="val 2352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947"/>
          </a:p>
        </p:txBody>
      </p:sp>
    </p:spTree>
    <p:extLst>
      <p:ext uri="{BB962C8B-B14F-4D97-AF65-F5344CB8AC3E}">
        <p14:creationId xmlns:p14="http://schemas.microsoft.com/office/powerpoint/2010/main" val="25313812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202D98-AA1E-41BB-B94E-180311759C1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 rtlCol="0"/>
          <a:lstStyle/>
          <a:p>
            <a:pPr rtl="0"/>
            <a:fld id="{19B51A1E-902D-48AF-9020-955120F399B6}" type="slidenum">
              <a:rPr lang="en-GB" smtClean="0"/>
              <a:pPr rtl="0"/>
              <a:t>5</a:t>
            </a:fld>
            <a:endParaRPr lang="en-GB"/>
          </a:p>
        </p:txBody>
      </p:sp>
      <p:sp>
        <p:nvSpPr>
          <p:cNvPr id="8" name="Title 7" hidden="1">
            <a:extLst>
              <a:ext uri="{FF2B5EF4-FFF2-40B4-BE49-F238E27FC236}">
                <a16:creationId xmlns:a16="http://schemas.microsoft.com/office/drawing/2014/main" id="{D4D7552C-2487-44D3-B47B-039B6E9A6E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en-gb"/>
              <a:t>Image SLide</a:t>
            </a:r>
          </a:p>
        </p:txBody>
      </p:sp>
      <p:pic>
        <p:nvPicPr>
          <p:cNvPr id="5" name="Picture Placeholder 4">
            <a:extLst>
              <a:ext uri="{FF2B5EF4-FFF2-40B4-BE49-F238E27FC236}">
                <a16:creationId xmlns:a16="http://schemas.microsoft.com/office/drawing/2014/main" id="{3C364D87-9E90-EB3F-B309-5B8046846CBD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/>
          <a:srcRect l="18308" r="18308"/>
          <a:stretch>
            <a:fillRect/>
          </a:stretch>
        </p:blipFill>
        <p:spPr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0D150EE-3947-BD68-94A8-0FBF6021C4DA}"/>
              </a:ext>
            </a:extLst>
          </p:cNvPr>
          <p:cNvSpPr txBox="1"/>
          <p:nvPr/>
        </p:nvSpPr>
        <p:spPr>
          <a:xfrm>
            <a:off x="335068" y="4208270"/>
            <a:ext cx="10052050" cy="25283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7915" b="1" cap="all" spc="-495">
                <a:solidFill>
                  <a:srgbClr val="000000"/>
                </a:solidFill>
                <a:latin typeface="Arial"/>
                <a:ea typeface="+mj-ea"/>
                <a:cs typeface="+mj-cs"/>
              </a:rPr>
              <a:t>WOMEN NEED WORK </a:t>
            </a:r>
            <a:r>
              <a:rPr lang="en-GB" sz="7915" b="1" cap="all" spc="-495">
                <a:solidFill>
                  <a:srgbClr val="C00000"/>
                </a:solidFill>
                <a:latin typeface="Arial"/>
                <a:ea typeface="+mj-ea"/>
                <a:cs typeface="+mj-cs"/>
              </a:rPr>
              <a:t>NOT CHARITY</a:t>
            </a:r>
            <a:endParaRPr lang="en-GB" sz="7915"/>
          </a:p>
        </p:txBody>
      </p:sp>
    </p:spTree>
    <p:extLst>
      <p:ext uri="{BB962C8B-B14F-4D97-AF65-F5344CB8AC3E}">
        <p14:creationId xmlns:p14="http://schemas.microsoft.com/office/powerpoint/2010/main" val="8371502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304E83-A4F0-49C5-BB01-F5773509A2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2350" y="712747"/>
            <a:ext cx="15167119" cy="712350"/>
          </a:xfrm>
        </p:spPr>
        <p:txBody>
          <a:bodyPr rtlCol="0" anchor="ctr">
            <a:normAutofit/>
          </a:bodyPr>
          <a:lstStyle/>
          <a:p>
            <a:pPr rtl="0"/>
            <a:r>
              <a:rPr lang="en-GB" sz="4947"/>
              <a:t>Social enterprises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6AC9832-FB01-464A-9824-61887B77997E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>
          <a:xfrm>
            <a:off x="18876454" y="10556616"/>
            <a:ext cx="459100" cy="452349"/>
          </a:xfrm>
        </p:spPr>
        <p:txBody>
          <a:bodyPr rtlCol="0" anchor="ctr">
            <a:normAutofit/>
          </a:bodyPr>
          <a:lstStyle/>
          <a:p>
            <a:pPr>
              <a:spcAft>
                <a:spcPts val="989"/>
              </a:spcAft>
            </a:pPr>
            <a:fld id="{19B51A1E-902D-48AF-9020-955120F399B6}" type="slidenum">
              <a:rPr lang="en-GB" smtClean="0"/>
              <a:pPr>
                <a:spcAft>
                  <a:spcPts val="989"/>
                </a:spcAft>
              </a:pPr>
              <a:t>6</a:t>
            </a:fld>
            <a:endParaRPr lang="en-GB"/>
          </a:p>
        </p:txBody>
      </p:sp>
      <p:pic>
        <p:nvPicPr>
          <p:cNvPr id="13" name="Picture 12" descr="A group of people standing in a line&#10;&#10;Description automatically generated with medium confidence">
            <a:extLst>
              <a:ext uri="{FF2B5EF4-FFF2-40B4-BE49-F238E27FC236}">
                <a16:creationId xmlns:a16="http://schemas.microsoft.com/office/drawing/2014/main" id="{72CEA7E5-C723-B52A-E200-47087163610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137" r="31750" b="1"/>
          <a:stretch/>
        </p:blipFill>
        <p:spPr>
          <a:xfrm>
            <a:off x="8566602" y="1008481"/>
            <a:ext cx="9966865" cy="9198414"/>
          </a:xfrm>
          <a:prstGeom prst="rect">
            <a:avLst/>
          </a:prstGeom>
          <a:noFill/>
        </p:spPr>
      </p:pic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7FF34989-C845-03F0-2187-2C2BF2A2C1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2349" y="1762176"/>
            <a:ext cx="6716249" cy="1615080"/>
          </a:xfrm>
          <a:noFill/>
        </p:spPr>
        <p:txBody>
          <a:bodyPr/>
          <a:lstStyle/>
          <a:p>
            <a:endParaRPr lang="en-GB" sz="3298" b="0">
              <a:solidFill>
                <a:schemeClr val="tx1"/>
              </a:solidFill>
            </a:endParaRPr>
          </a:p>
          <a:p>
            <a:r>
              <a:rPr lang="en-GB" sz="3298" b="0">
                <a:solidFill>
                  <a:schemeClr val="tx1"/>
                </a:solidFill>
              </a:rPr>
              <a:t>SEWA supports women’s                 wellbeing through social enterprises.</a:t>
            </a:r>
          </a:p>
          <a:p>
            <a:endParaRPr lang="en-GB" b="0">
              <a:solidFill>
                <a:schemeClr val="tx1"/>
              </a:solidFill>
            </a:endParaRPr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CA3BC8C4-651C-6248-EA5D-2BE7C9A75E71}"/>
              </a:ext>
            </a:extLst>
          </p:cNvPr>
          <p:cNvPicPr>
            <a:picLocks noGrp="1" noChangeAspect="1" noChangeArrowheads="1"/>
          </p:cNvPicPr>
          <p:nvPr>
            <p:ph sz="half" idx="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349" y="4207618"/>
            <a:ext cx="3988492" cy="230724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A5851941-EEEC-1569-C1F8-29C7F4CC5A3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2348" y="7601709"/>
            <a:ext cx="2843048" cy="2812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2" name="Picture 4">
            <a:extLst>
              <a:ext uri="{FF2B5EF4-FFF2-40B4-BE49-F238E27FC236}">
                <a16:creationId xmlns:a16="http://schemas.microsoft.com/office/drawing/2014/main" id="{4A84B3BD-EACD-635A-D0D7-32674C43C9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3401" y="6900173"/>
            <a:ext cx="2735196" cy="2859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Minus Sign 2">
            <a:extLst>
              <a:ext uri="{FF2B5EF4-FFF2-40B4-BE49-F238E27FC236}">
                <a16:creationId xmlns:a16="http://schemas.microsoft.com/office/drawing/2014/main" id="{8BFC44A7-41BA-B62D-F5D9-B9C30B643948}"/>
              </a:ext>
            </a:extLst>
          </p:cNvPr>
          <p:cNvSpPr/>
          <p:nvPr/>
        </p:nvSpPr>
        <p:spPr>
          <a:xfrm>
            <a:off x="-1355178" y="1360587"/>
            <a:ext cx="9821150" cy="378131"/>
          </a:xfrm>
          <a:prstGeom prst="mathMinus">
            <a:avLst>
              <a:gd name="adj1" fmla="val 23520"/>
            </a:avLst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947"/>
          </a:p>
        </p:txBody>
      </p:sp>
    </p:spTree>
    <p:extLst>
      <p:ext uri="{BB962C8B-B14F-4D97-AF65-F5344CB8AC3E}">
        <p14:creationId xmlns:p14="http://schemas.microsoft.com/office/powerpoint/2010/main" val="251672711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>
            <a:extLst>
              <a:ext uri="{FF2B5EF4-FFF2-40B4-BE49-F238E27FC236}">
                <a16:creationId xmlns:a16="http://schemas.microsoft.com/office/drawing/2014/main" id="{F11A6B65-5A20-4F4D-ACBB-ED50132D4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81851" y="104288"/>
            <a:ext cx="11210031" cy="2761131"/>
          </a:xfrm>
        </p:spPr>
        <p:txBody>
          <a:bodyPr rtlCol="0"/>
          <a:lstStyle/>
          <a:p>
            <a:pPr rtl="0"/>
            <a:r>
              <a:rPr lang="en-GB"/>
              <a:t>THANK YOU</a:t>
            </a:r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822532D6-6016-59D1-9081-6190A9F67F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041" y="2865420"/>
            <a:ext cx="19971059" cy="66573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A3AEE7B4-E84F-24B1-D20C-33A134C6A24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95372" y="10004217"/>
            <a:ext cx="5490784" cy="631365"/>
          </a:xfrm>
        </p:spPr>
        <p:txBody>
          <a:bodyPr rtlCol="0"/>
          <a:lstStyle/>
          <a:p>
            <a:pPr rtl="0"/>
            <a:r>
              <a:rPr lang="en-GB"/>
              <a:t>Jyoti Macwan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7F381D79-1C97-7CDD-C2CD-270B781966CC}"/>
              </a:ext>
            </a:extLst>
          </p:cNvPr>
          <p:cNvSpPr txBox="1">
            <a:spLocks/>
          </p:cNvSpPr>
          <p:nvPr/>
        </p:nvSpPr>
        <p:spPr>
          <a:xfrm>
            <a:off x="10423959" y="9885647"/>
            <a:ext cx="4799033" cy="3924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309" i="0"/>
              <a:t>JyotiMacwan@Sewa.org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A1A682B4-80EE-1307-F207-B0E12757BF70}"/>
              </a:ext>
            </a:extLst>
          </p:cNvPr>
          <p:cNvSpPr txBox="1">
            <a:spLocks/>
          </p:cNvSpPr>
          <p:nvPr/>
        </p:nvSpPr>
        <p:spPr>
          <a:xfrm>
            <a:off x="10423959" y="10393612"/>
            <a:ext cx="4799033" cy="3924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i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2309" i="0"/>
              <a:t>https:www.sewa.org</a:t>
            </a:r>
          </a:p>
        </p:txBody>
      </p:sp>
      <p:pic>
        <p:nvPicPr>
          <p:cNvPr id="19" name="Graphic 18" descr="Envelope" title="Icon Presenter Email">
            <a:extLst>
              <a:ext uri="{FF2B5EF4-FFF2-40B4-BE49-F238E27FC236}">
                <a16:creationId xmlns:a16="http://schemas.microsoft.com/office/drawing/2014/main" id="{10D23FD1-065A-80EC-D54D-676A4ABB62E4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903225" y="9860168"/>
            <a:ext cx="360957" cy="360957"/>
          </a:xfrm>
          <a:prstGeom prst="rect">
            <a:avLst/>
          </a:prstGeom>
        </p:spPr>
      </p:pic>
      <p:pic>
        <p:nvPicPr>
          <p:cNvPr id="23" name="Graphic 22" descr="Link">
            <a:extLst>
              <a:ext uri="{FF2B5EF4-FFF2-40B4-BE49-F238E27FC236}">
                <a16:creationId xmlns:a16="http://schemas.microsoft.com/office/drawing/2014/main" id="{692CC98C-7CD7-09E2-D043-746E668CAA94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896176" y="10382448"/>
            <a:ext cx="403642" cy="403642"/>
          </a:xfrm>
          <a:prstGeom prst="rect">
            <a:avLst/>
          </a:prstGeom>
        </p:spPr>
      </p:pic>
      <p:sp>
        <p:nvSpPr>
          <p:cNvPr id="25" name="Minus Sign 24">
            <a:extLst>
              <a:ext uri="{FF2B5EF4-FFF2-40B4-BE49-F238E27FC236}">
                <a16:creationId xmlns:a16="http://schemas.microsoft.com/office/drawing/2014/main" id="{75E307A5-BBA3-4E14-3D8B-DC96EE22B225}"/>
              </a:ext>
            </a:extLst>
          </p:cNvPr>
          <p:cNvSpPr/>
          <p:nvPr/>
        </p:nvSpPr>
        <p:spPr>
          <a:xfrm rot="16200000">
            <a:off x="8860757" y="10119164"/>
            <a:ext cx="1617618" cy="378131"/>
          </a:xfrm>
          <a:prstGeom prst="mathMinus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4947"/>
          </a:p>
        </p:txBody>
      </p:sp>
    </p:spTree>
    <p:extLst>
      <p:ext uri="{BB962C8B-B14F-4D97-AF65-F5344CB8AC3E}">
        <p14:creationId xmlns:p14="http://schemas.microsoft.com/office/powerpoint/2010/main" val="9132607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333333"/>
      </a:hlink>
      <a:folHlink>
        <a:srgbClr val="800080"/>
      </a:folHlink>
    </a:clrScheme>
    <a:fontScheme name="Better Cotton Conference">
      <a:majorFont>
        <a:latin typeface="Comfortaa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aster Slide Dark Green">
  <a:themeElements>
    <a:clrScheme name="IDH 2022">
      <a:dk1>
        <a:srgbClr val="00615F"/>
      </a:dk1>
      <a:lt1>
        <a:srgbClr val="FFFFFF"/>
      </a:lt1>
      <a:dk2>
        <a:srgbClr val="00615F"/>
      </a:dk2>
      <a:lt2>
        <a:srgbClr val="FFFFFF"/>
      </a:lt2>
      <a:accent1>
        <a:srgbClr val="00615F"/>
      </a:accent1>
      <a:accent2>
        <a:srgbClr val="47D985"/>
      </a:accent2>
      <a:accent3>
        <a:srgbClr val="FF5D00"/>
      </a:accent3>
      <a:accent4>
        <a:srgbClr val="FFC505"/>
      </a:accent4>
      <a:accent5>
        <a:srgbClr val="0098FF"/>
      </a:accent5>
      <a:accent6>
        <a:srgbClr val="78321E"/>
      </a:accent6>
      <a:hlink>
        <a:srgbClr val="47D985"/>
      </a:hlink>
      <a:folHlink>
        <a:srgbClr val="50F79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 anchor="ctr">
        <a:noAutofit/>
      </a:bodyPr>
      <a:lstStyle>
        <a:defPPr algn="ctr">
          <a:defRPr sz="1400" dirty="0" err="1" smtClean="0">
            <a:solidFill>
              <a:srgbClr val="00625F"/>
            </a:solidFill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DH_PPT_Master_5.3" id="{2A1312F6-07B4-B244-8557-797A27295401}" vid="{9179B3D6-F7A4-5947-8F20-B40843203BF6}"/>
    </a:ext>
  </a:extLst>
</a:theme>
</file>

<file path=ppt/theme/theme3.xml><?xml version="1.0" encoding="utf-8"?>
<a:theme xmlns:a="http://schemas.openxmlformats.org/drawingml/2006/main" name="Office Theme">
  <a:themeElements>
    <a:clrScheme name="Custom 134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5CB8B3"/>
      </a:accent1>
      <a:accent2>
        <a:srgbClr val="F5D66E"/>
      </a:accent2>
      <a:accent3>
        <a:srgbClr val="D78189"/>
      </a:accent3>
      <a:accent4>
        <a:srgbClr val="7030A0"/>
      </a:accent4>
      <a:accent5>
        <a:srgbClr val="0070C0"/>
      </a:accent5>
      <a:accent6>
        <a:srgbClr val="C4D36D"/>
      </a:accent6>
      <a:hlink>
        <a:srgbClr val="54C3BD"/>
      </a:hlink>
      <a:folHlink>
        <a:srgbClr val="54C3BD"/>
      </a:folHlink>
    </a:clrScheme>
    <a:fontScheme name="Custom 154">
      <a:majorFont>
        <a:latin typeface="Arial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_30677756_TF67328976" id="{8D41288C-A143-4C55-A19F-9A38F7741759}" vid="{98B99BFD-3B7E-4AE0-80A8-38C1178D3A47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0AA2DD92FEB3C4CBC183CE5B2164187" ma:contentTypeVersion="14" ma:contentTypeDescription="Create a new document." ma:contentTypeScope="" ma:versionID="281ba124d0a5290799230fa39d6ebd5f">
  <xsd:schema xmlns:xsd="http://www.w3.org/2001/XMLSchema" xmlns:xs="http://www.w3.org/2001/XMLSchema" xmlns:p="http://schemas.microsoft.com/office/2006/metadata/properties" xmlns:ns2="03e44dea-9cd4-4bc5-b8f2-3c53490ef893" xmlns:ns3="7a9e4e6c-65b8-4f7f-b982-f96d8a0c681b" targetNamespace="http://schemas.microsoft.com/office/2006/metadata/properties" ma:root="true" ma:fieldsID="2cee3ea085981b49fb9aa8a8cf158b0d" ns2:_="" ns3:_="">
    <xsd:import namespace="03e44dea-9cd4-4bc5-b8f2-3c53490ef893"/>
    <xsd:import namespace="7a9e4e6c-65b8-4f7f-b982-f96d8a0c681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ObjectDetectorVersions" minOccurs="0"/>
                <xsd:element ref="ns2:MediaServiceLocatio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3e44dea-9cd4-4bc5-b8f2-3c53490ef89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c25eaf9d-f2c0-4638-b611-78ba9a34cc81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3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a9e4e6c-65b8-4f7f-b982-f96d8a0c681b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f1706523-3280-4896-8b02-6c0f1dbb8db4}" ma:internalName="TaxCatchAll" ma:showField="CatchAllData" ma:web="7a9e4e6c-65b8-4f7f-b982-f96d8a0c681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7a9e4e6c-65b8-4f7f-b982-f96d8a0c681b" xsi:nil="true"/>
    <lcf76f155ced4ddcb4097134ff3c332f xmlns="03e44dea-9cd4-4bc5-b8f2-3c53490ef893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6D50B37-8B77-4218-96DE-F22EA2D5E104}">
  <ds:schemaRefs>
    <ds:schemaRef ds:uri="03e44dea-9cd4-4bc5-b8f2-3c53490ef893"/>
    <ds:schemaRef ds:uri="7a9e4e6c-65b8-4f7f-b982-f96d8a0c681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42463118-354D-41DE-81F1-E958D357EED9}">
  <ds:schemaRefs>
    <ds:schemaRef ds:uri="03e44dea-9cd4-4bc5-b8f2-3c53490ef893"/>
    <ds:schemaRef ds:uri="7a9e4e6c-65b8-4f7f-b982-f96d8a0c681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6ADCCF7D-A322-4A30-9AA4-5D6917D798F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65</Words>
  <Application>Microsoft Office PowerPoint</Application>
  <PresentationFormat>Custom</PresentationFormat>
  <Paragraphs>84</Paragraphs>
  <Slides>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23" baseType="lpstr">
      <vt:lpstr>Arial</vt:lpstr>
      <vt:lpstr>Calibri</vt:lpstr>
      <vt:lpstr>Calibri Light</vt:lpstr>
      <vt:lpstr>Comfortaa</vt:lpstr>
      <vt:lpstr>Corbel</vt:lpstr>
      <vt:lpstr>Overpass</vt:lpstr>
      <vt:lpstr>Roboto</vt:lpstr>
      <vt:lpstr>Roboto Bold</vt:lpstr>
      <vt:lpstr>Roboto Light</vt:lpstr>
      <vt:lpstr>Segoe UI</vt:lpstr>
      <vt:lpstr>Times New Roman</vt:lpstr>
      <vt:lpstr>Verdana</vt:lpstr>
      <vt:lpstr>Office Theme</vt:lpstr>
      <vt:lpstr>Master Slide Dark Green</vt:lpstr>
      <vt:lpstr>Office Theme</vt:lpstr>
      <vt:lpstr>think-cell Slide</vt:lpstr>
      <vt:lpstr>PowerPoint Presentation</vt:lpstr>
      <vt:lpstr>WELLBEING AND SUSTAINABLE LiveliHOODS</vt:lpstr>
      <vt:lpstr>About Us</vt:lpstr>
      <vt:lpstr>Our APPROACH</vt:lpstr>
      <vt:lpstr>Image SLide</vt:lpstr>
      <vt:lpstr>Social enterprises</vt:lpstr>
      <vt:lpstr>THANK YO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ara Cruz</dc:creator>
  <cp:lastModifiedBy>Joe Morphet</cp:lastModifiedBy>
  <cp:revision>2</cp:revision>
  <dcterms:created xsi:type="dcterms:W3CDTF">2022-02-07T21:37:15Z</dcterms:created>
  <dcterms:modified xsi:type="dcterms:W3CDTF">2023-06-22T12:00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22-02-07T00:00:00Z</vt:filetime>
  </property>
  <property fmtid="{D5CDD505-2E9C-101B-9397-08002B2CF9AE}" pid="3" name="Creator">
    <vt:lpwstr>Adobe InDesign 17.1 (Windows)</vt:lpwstr>
  </property>
  <property fmtid="{D5CDD505-2E9C-101B-9397-08002B2CF9AE}" pid="4" name="LastSaved">
    <vt:filetime>2022-02-07T00:00:00Z</vt:filetime>
  </property>
  <property fmtid="{D5CDD505-2E9C-101B-9397-08002B2CF9AE}" pid="5" name="ContentTypeId">
    <vt:lpwstr>0x010100C0AA2DD92FEB3C4CBC183CE5B2164187</vt:lpwstr>
  </property>
  <property fmtid="{D5CDD505-2E9C-101B-9397-08002B2CF9AE}" pid="6" name="MediaServiceImageTags">
    <vt:lpwstr/>
  </property>
</Properties>
</file>